
<file path=[Content_Types].xml><?xml version="1.0" encoding="utf-8"?>
<Types xmlns="http://schemas.openxmlformats.org/package/2006/content-types">
  <Default Extension="fntdata" ContentType="application/x-fontdata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autoCompressPictures="0">
  <p:sldMasterIdLst>
    <p:sldMasterId id="2147483964" r:id="rId1"/>
    <p:sldMasterId id="2147484025" r:id="rId2"/>
  </p:sldMasterIdLst>
  <p:notesMasterIdLst>
    <p:notesMasterId r:id="rId7"/>
  </p:notesMasterIdLst>
  <p:handoutMasterIdLst>
    <p:handoutMasterId r:id="rId8"/>
  </p:handoutMasterIdLst>
  <p:sldIdLst>
    <p:sldId id="619" r:id="rId3"/>
    <p:sldId id="4182" r:id="rId4"/>
    <p:sldId id="4183" r:id="rId5"/>
    <p:sldId id="4184" r:id="rId6"/>
  </p:sldIdLst>
  <p:sldSz cx="12190413" cy="6858000"/>
  <p:notesSz cx="6858000" cy="9144000"/>
  <p:embeddedFontLst>
    <p:embeddedFont>
      <p:font typeface="Calibri" panose="020F0502020204030204" pitchFamily="34" charset="0"/>
      <p:regular r:id="rId9"/>
      <p:bold r:id="rId10"/>
      <p:italic r:id="rId11"/>
      <p:boldItalic r:id="rId12"/>
    </p:embeddedFont>
  </p:embeddedFontLst>
  <p:custDataLst>
    <p:tags r:id="rId13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4CAF8842-DCE7-761B-9295-E8AD14946383}" name="Henrik Ohlms" initials="HO" userId="S::henrik.ohlms@mdoc.one::1569c030-ee27-4ebd-8e4d-ec325c5cd30b" providerId="AD"/>
  <p188:author id="{5B01E7D9-15C6-CFD0-051C-B77D11A37A59}" name="David Ohlms" initials="DO" userId="S::david.ohlms@mdoc.one::bf9724cb-df75-412e-930f-0ba4b0c47d0c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Stefanie Berger" initials="SB" lastIdx="1" clrIdx="0">
    <p:extLst>
      <p:ext uri="{19B8F6BF-5375-455C-9EA6-DF929625EA0E}">
        <p15:presenceInfo xmlns:p15="http://schemas.microsoft.com/office/powerpoint/2012/main" userId="11e352639a4a0fc6" providerId="Windows Live"/>
      </p:ext>
    </p:extLst>
  </p:cmAuthor>
  <p:cmAuthor id="2" name="Nicole Zimmermann" initials="NZ" lastIdx="3" clrIdx="1">
    <p:extLst>
      <p:ext uri="{19B8F6BF-5375-455C-9EA6-DF929625EA0E}">
        <p15:presenceInfo xmlns:p15="http://schemas.microsoft.com/office/powerpoint/2012/main" userId="S::nicole.zimmermann@indema.ch::1b890885-d5c1-4bce-a60a-dae923a40b01" providerId="AD"/>
      </p:ext>
    </p:extLst>
  </p:cmAuthor>
  <p:cmAuthor id="3" name="Peter Mayer" initials="PM" lastIdx="1" clrIdx="2">
    <p:extLst>
      <p:ext uri="{19B8F6BF-5375-455C-9EA6-DF929625EA0E}">
        <p15:presenceInfo xmlns:p15="http://schemas.microsoft.com/office/powerpoint/2012/main" userId="S::extern.peter.mayer@mdoc.one::934547e2-b657-466b-a666-9b90b95e6698" providerId="AD"/>
      </p:ext>
    </p:extLst>
  </p:cmAuthor>
  <p:cmAuthor id="4" name="Lisa Schröder" initials="LS" lastIdx="118" clrIdx="3">
    <p:extLst>
      <p:ext uri="{19B8F6BF-5375-455C-9EA6-DF929625EA0E}">
        <p15:presenceInfo xmlns:p15="http://schemas.microsoft.com/office/powerpoint/2012/main" userId="Lisa Schröder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2F2F2"/>
    <a:srgbClr val="FDA186"/>
    <a:srgbClr val="FFDC6D"/>
    <a:srgbClr val="866500"/>
    <a:srgbClr val="FFDC60"/>
    <a:srgbClr val="E9E9E9"/>
    <a:srgbClr val="E3000B"/>
    <a:srgbClr val="E6E6E6"/>
    <a:srgbClr val="2E2E2E"/>
    <a:srgbClr val="6B6E6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DF18680-E054-41AD-8BC1-D1AEF772440D}" styleName="Mittlere Formatvorlage 2 - Akz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6E25E649-3F16-4E02-A733-19D2CDBF48F0}" styleName="Mittlere Formatvorlage 3 - Akz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012ECD-51FC-41F1-AA8D-1B2483CD663E}" styleName="Helle Formatvorlage 2 - Akz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3B4B98B0-60AC-42C2-AFA5-B58CD77FA1E5}" styleName="Helle Formatvorlage 1 - Akz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C083E6E3-FA7D-4D7B-A595-EF9225AFEA82}" styleName="Helle Formatvorlage 1 - Akz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2D5ABB26-0587-4C30-8999-92F81FD0307C}" styleName="Keine Formatvorlage, kein Ras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11"/>
    <p:restoredTop sz="94694"/>
  </p:normalViewPr>
  <p:slideViewPr>
    <p:cSldViewPr snapToGrid="0">
      <p:cViewPr varScale="1">
        <p:scale>
          <a:sx n="121" d="100"/>
          <a:sy n="121" d="100"/>
        </p:scale>
        <p:origin x="744" y="17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handoutMaster" Target="handoutMasters/handoutMaster1.xml"/><Relationship Id="rId13" Type="http://schemas.openxmlformats.org/officeDocument/2006/relationships/tags" Target="tags/tag1.xml"/><Relationship Id="rId18" Type="http://schemas.openxmlformats.org/officeDocument/2006/relationships/tableStyles" Target="tableStyles.xml"/><Relationship Id="rId3" Type="http://schemas.openxmlformats.org/officeDocument/2006/relationships/slide" Target="slides/slide1.xml"/><Relationship Id="rId7" Type="http://schemas.openxmlformats.org/officeDocument/2006/relationships/notesMaster" Target="notesMasters/notesMaster1.xml"/><Relationship Id="rId12" Type="http://schemas.openxmlformats.org/officeDocument/2006/relationships/font" Target="fonts/font4.fntdata"/><Relationship Id="rId17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font" Target="fonts/font3.fntdata"/><Relationship Id="rId5" Type="http://schemas.openxmlformats.org/officeDocument/2006/relationships/slide" Target="slides/slide3.xml"/><Relationship Id="rId15" Type="http://schemas.openxmlformats.org/officeDocument/2006/relationships/presProps" Target="presProps.xml"/><Relationship Id="rId10" Type="http://schemas.openxmlformats.org/officeDocument/2006/relationships/font" Target="fonts/font2.fntdata"/><Relationship Id="rId19" Type="http://schemas.microsoft.com/office/2018/10/relationships/authors" Target="authors.xml"/><Relationship Id="rId4" Type="http://schemas.openxmlformats.org/officeDocument/2006/relationships/slide" Target="slides/slide2.xml"/><Relationship Id="rId9" Type="http://schemas.openxmlformats.org/officeDocument/2006/relationships/font" Target="fonts/font1.fntdata"/><Relationship Id="rId14" Type="http://schemas.openxmlformats.org/officeDocument/2006/relationships/commentAuthors" Target="commentAuthor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ußzeile"/>
          <p:cNvSpPr>
            <a:spLocks noGrp="1"/>
          </p:cNvSpPr>
          <p:nvPr>
            <p:ph type="ftr" sz="quarter" idx="2"/>
          </p:nvPr>
        </p:nvSpPr>
        <p:spPr>
          <a:xfrm>
            <a:off x="0" y="8604000"/>
            <a:ext cx="5040000" cy="540000"/>
          </a:xfrm>
          <a:prstGeom prst="rect">
            <a:avLst/>
          </a:prstGeom>
        </p:spPr>
        <p:txBody>
          <a:bodyPr vert="horz" lIns="360000" tIns="0" rIns="0" bIns="18000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"/>
          <p:cNvSpPr>
            <a:spLocks noGrp="1"/>
          </p:cNvSpPr>
          <p:nvPr>
            <p:ph type="sldNum" sz="quarter" idx="3"/>
          </p:nvPr>
        </p:nvSpPr>
        <p:spPr>
          <a:xfrm>
            <a:off x="5418000" y="8604000"/>
            <a:ext cx="1440000" cy="540000"/>
          </a:xfrm>
          <a:prstGeom prst="rect">
            <a:avLst/>
          </a:prstGeom>
        </p:spPr>
        <p:txBody>
          <a:bodyPr vert="horz" lIns="0" tIns="0" rIns="360000" bIns="180000" rtlCol="0" anchor="b"/>
          <a:lstStyle>
            <a:lvl1pPr algn="r">
              <a:defRPr sz="1200"/>
            </a:lvl1pPr>
          </a:lstStyle>
          <a:p>
            <a:fld id="{CD9C266D-9BF6-45DD-93F4-23D3D4380AFF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67939925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bild"/>
          <p:cNvSpPr>
            <a:spLocks noGrp="1" noRot="1" noChangeAspect="1"/>
          </p:cNvSpPr>
          <p:nvPr>
            <p:ph type="sldImg" idx="2"/>
          </p:nvPr>
        </p:nvSpPr>
        <p:spPr>
          <a:xfrm>
            <a:off x="360000" y="432000"/>
            <a:ext cx="6138000" cy="3454424"/>
          </a:xfrm>
          <a:prstGeom prst="rect">
            <a:avLst/>
          </a:prstGeom>
          <a:noFill/>
          <a:ln w="12700">
            <a:solidFill>
              <a:prstClr val="black"/>
            </a:solidFill>
            <a:miter lim="800000"/>
          </a:ln>
        </p:spPr>
        <p:txBody>
          <a:bodyPr vert="horz" lIns="0" tIns="0" rIns="0" bIns="0" rtlCol="0" anchor="ctr"/>
          <a:lstStyle/>
          <a:p>
            <a:endParaRPr lang="de-DE" noProof="0"/>
          </a:p>
        </p:txBody>
      </p:sp>
      <p:sp>
        <p:nvSpPr>
          <p:cNvPr id="5" name="Notizen"/>
          <p:cNvSpPr>
            <a:spLocks noGrp="1"/>
          </p:cNvSpPr>
          <p:nvPr>
            <p:ph type="body" sz="quarter" idx="3"/>
          </p:nvPr>
        </p:nvSpPr>
        <p:spPr>
          <a:xfrm>
            <a:off x="359999" y="4248000"/>
            <a:ext cx="6138000" cy="4068000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</p:txBody>
      </p:sp>
      <p:sp>
        <p:nvSpPr>
          <p:cNvPr id="6" name="Fußzeile"/>
          <p:cNvSpPr>
            <a:spLocks noGrp="1"/>
          </p:cNvSpPr>
          <p:nvPr>
            <p:ph type="ftr" sz="quarter" idx="4"/>
          </p:nvPr>
        </p:nvSpPr>
        <p:spPr>
          <a:xfrm>
            <a:off x="0" y="8604000"/>
            <a:ext cx="5040000" cy="540000"/>
          </a:xfrm>
          <a:prstGeom prst="rect">
            <a:avLst/>
          </a:prstGeom>
        </p:spPr>
        <p:txBody>
          <a:bodyPr vert="horz" lIns="360000" tIns="0" rIns="0" bIns="180000" rtlCol="0" anchor="b"/>
          <a:lstStyle>
            <a:lvl1pPr algn="l">
              <a:defRPr sz="1200"/>
            </a:lvl1pPr>
          </a:lstStyle>
          <a:p>
            <a:endParaRPr lang="de-DE" noProof="0"/>
          </a:p>
        </p:txBody>
      </p:sp>
      <p:sp>
        <p:nvSpPr>
          <p:cNvPr id="7" name="Foliennummer"/>
          <p:cNvSpPr>
            <a:spLocks noGrp="1"/>
          </p:cNvSpPr>
          <p:nvPr>
            <p:ph type="sldNum" sz="quarter" idx="5"/>
          </p:nvPr>
        </p:nvSpPr>
        <p:spPr>
          <a:xfrm>
            <a:off x="5418000" y="8604000"/>
            <a:ext cx="1440000" cy="540000"/>
          </a:xfrm>
          <a:prstGeom prst="rect">
            <a:avLst/>
          </a:prstGeom>
        </p:spPr>
        <p:txBody>
          <a:bodyPr vert="horz" lIns="0" tIns="0" rIns="360000" bIns="180000" rtlCol="0" anchor="b"/>
          <a:lstStyle>
            <a:lvl1pPr algn="r">
              <a:defRPr sz="1200"/>
            </a:lvl1pPr>
          </a:lstStyle>
          <a:p>
            <a:fld id="{92DA5471-CC57-402A-9527-36A1D012F698}" type="slidenum">
              <a:rPr lang="de-DE" noProof="0" smtClean="0"/>
              <a:t>‹Nr.›</a:t>
            </a:fld>
            <a:endParaRPr lang="de-DE" noProof="0"/>
          </a:p>
        </p:txBody>
      </p:sp>
    </p:spTree>
    <p:extLst>
      <p:ext uri="{BB962C8B-B14F-4D97-AF65-F5344CB8AC3E}">
        <p14:creationId xmlns:p14="http://schemas.microsoft.com/office/powerpoint/2010/main" val="12865350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EL &amp; UNTER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Freihandform: Form 34">
            <a:extLst>
              <a:ext uri="{FF2B5EF4-FFF2-40B4-BE49-F238E27FC236}">
                <a16:creationId xmlns:a16="http://schemas.microsoft.com/office/drawing/2014/main" id="{4AD62D81-8C3D-4AB6-85FE-D1ADDFBE7471}"/>
              </a:ext>
            </a:extLst>
          </p:cNvPr>
          <p:cNvSpPr>
            <a:spLocks noChangeAspect="1"/>
          </p:cNvSpPr>
          <p:nvPr userDrawn="1"/>
        </p:nvSpPr>
        <p:spPr bwMode="gray">
          <a:xfrm rot="5400000" flipH="1">
            <a:off x="4662860" y="-669555"/>
            <a:ext cx="2864695" cy="12190415"/>
          </a:xfrm>
          <a:custGeom>
            <a:avLst/>
            <a:gdLst>
              <a:gd name="connsiteX0" fmla="*/ 2864695 w 2864695"/>
              <a:gd name="connsiteY0" fmla="*/ 0 h 12190415"/>
              <a:gd name="connsiteX1" fmla="*/ 0 w 2864695"/>
              <a:gd name="connsiteY1" fmla="*/ 0 h 12190415"/>
              <a:gd name="connsiteX2" fmla="*/ 1 w 2864695"/>
              <a:gd name="connsiteY2" fmla="*/ 12190415 h 12190415"/>
              <a:gd name="connsiteX3" fmla="*/ 1535709 w 2864695"/>
              <a:gd name="connsiteY3" fmla="*/ 12190415 h 121904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864695" h="12190415">
                <a:moveTo>
                  <a:pt x="2864695" y="0"/>
                </a:moveTo>
                <a:lnTo>
                  <a:pt x="0" y="0"/>
                </a:lnTo>
                <a:lnTo>
                  <a:pt x="1" y="12190415"/>
                </a:lnTo>
                <a:lnTo>
                  <a:pt x="1535709" y="12190415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noAutofit/>
          </a:bodyPr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endParaRPr lang="de-DE"/>
          </a:p>
        </p:txBody>
      </p:sp>
      <p:sp>
        <p:nvSpPr>
          <p:cNvPr id="19" name="Rechteck 18">
            <a:extLst>
              <a:ext uri="{FF2B5EF4-FFF2-40B4-BE49-F238E27FC236}">
                <a16:creationId xmlns:a16="http://schemas.microsoft.com/office/drawing/2014/main" id="{BAEC90D3-F28F-41C9-8937-FBFC7A384E49}"/>
              </a:ext>
            </a:extLst>
          </p:cNvPr>
          <p:cNvSpPr/>
          <p:nvPr userDrawn="1"/>
        </p:nvSpPr>
        <p:spPr bwMode="gray">
          <a:xfrm>
            <a:off x="0" y="0"/>
            <a:ext cx="12190413" cy="3429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endParaRPr lang="de-DE"/>
          </a:p>
        </p:txBody>
      </p:sp>
      <p:sp>
        <p:nvSpPr>
          <p:cNvPr id="7" name="Foliennummer">
            <a:extLst>
              <a:ext uri="{FF2B5EF4-FFF2-40B4-BE49-F238E27FC236}">
                <a16:creationId xmlns:a16="http://schemas.microsoft.com/office/drawing/2014/main" id="{7D26E7B9-36FB-4738-B438-B515BAF9866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11181600" y="6277176"/>
            <a:ext cx="468000" cy="216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lang="de-DE" sz="1000" b="1" kern="1200" smtClean="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1pPr>
          </a:lstStyle>
          <a:p>
            <a:fld id="{02CEFE82-39F2-4F47-8A0C-D5AB3496FA5C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8E8AC66E-3F23-4946-9308-8A2E58CDA93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540000" y="6277176"/>
            <a:ext cx="4633980" cy="216000"/>
          </a:xfrm>
          <a:prstGeom prst="rect">
            <a:avLst/>
          </a:prstGeom>
        </p:spPr>
        <p:txBody>
          <a:bodyPr lIns="0" tIns="0" rIns="0" bIns="0" anchor="b" anchorCtr="0"/>
          <a:lstStyle>
            <a:lvl1pPr>
              <a:defRPr sz="1000"/>
            </a:lvl1pPr>
          </a:lstStyle>
          <a:p>
            <a:r>
              <a:rPr lang="de-DE"/>
              <a:t>Smart Clinic – Auf dem Weg zum digitalen Vorreiter</a:t>
            </a:r>
          </a:p>
        </p:txBody>
      </p:sp>
      <p:sp>
        <p:nvSpPr>
          <p:cNvPr id="9" name="Datum">
            <a:extLst>
              <a:ext uri="{FF2B5EF4-FFF2-40B4-BE49-F238E27FC236}">
                <a16:creationId xmlns:a16="http://schemas.microsoft.com/office/drawing/2014/main" id="{576BE0DE-93D5-4FB5-90CB-5EA993567A40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5375206" y="6277176"/>
            <a:ext cx="1440000" cy="216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>
              <a:defRPr sz="1000">
                <a:solidFill>
                  <a:schemeClr val="tx1"/>
                </a:solidFill>
              </a:defRPr>
            </a:lvl1pPr>
          </a:lstStyle>
          <a:p>
            <a:endParaRPr lang="de-DE"/>
          </a:p>
        </p:txBody>
      </p:sp>
      <p:grpSp>
        <p:nvGrpSpPr>
          <p:cNvPr id="11" name="Gruppieren 10">
            <a:extLst>
              <a:ext uri="{FF2B5EF4-FFF2-40B4-BE49-F238E27FC236}">
                <a16:creationId xmlns:a16="http://schemas.microsoft.com/office/drawing/2014/main" id="{0536A7F7-711D-467F-A1CC-7B2BB2C94403}"/>
              </a:ext>
            </a:extLst>
          </p:cNvPr>
          <p:cNvGrpSpPr>
            <a:grpSpLocks noChangeAspect="1"/>
          </p:cNvGrpSpPr>
          <p:nvPr userDrawn="1"/>
        </p:nvGrpSpPr>
        <p:grpSpPr bwMode="gray">
          <a:xfrm>
            <a:off x="0" y="1653839"/>
            <a:ext cx="552451" cy="431801"/>
            <a:chOff x="1009650" y="6149976"/>
            <a:chExt cx="552451" cy="431800"/>
          </a:xfrm>
          <a:solidFill>
            <a:schemeClr val="accent1"/>
          </a:solidFill>
        </p:grpSpPr>
        <p:sp>
          <p:nvSpPr>
            <p:cNvPr id="12" name="Rectangle 5">
              <a:extLst>
                <a:ext uri="{FF2B5EF4-FFF2-40B4-BE49-F238E27FC236}">
                  <a16:creationId xmlns:a16="http://schemas.microsoft.com/office/drawing/2014/main" id="{9147F8A1-DF39-43E4-A18C-85B76627D74F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1501775" y="6149976"/>
              <a:ext cx="60325" cy="603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3" name="Rectangle 6">
              <a:extLst>
                <a:ext uri="{FF2B5EF4-FFF2-40B4-BE49-F238E27FC236}">
                  <a16:creationId xmlns:a16="http://schemas.microsoft.com/office/drawing/2014/main" id="{E3278A85-F0E0-45B2-A22D-B9DC73C9FD41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1255713" y="6149976"/>
              <a:ext cx="60325" cy="603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4" name="Freeform 7">
              <a:extLst>
                <a:ext uri="{FF2B5EF4-FFF2-40B4-BE49-F238E27FC236}">
                  <a16:creationId xmlns:a16="http://schemas.microsoft.com/office/drawing/2014/main" id="{21D14429-1C1B-49C1-95D8-B7BCDD9E9B9D}"/>
                </a:ext>
              </a:extLst>
            </p:cNvPr>
            <p:cNvSpPr>
              <a:spLocks noEditPoints="1"/>
            </p:cNvSpPr>
            <p:nvPr userDrawn="1"/>
          </p:nvSpPr>
          <p:spPr bwMode="gray">
            <a:xfrm>
              <a:off x="1009650" y="6149976"/>
              <a:ext cx="430213" cy="431800"/>
            </a:xfrm>
            <a:custGeom>
              <a:avLst/>
              <a:gdLst>
                <a:gd name="T0" fmla="*/ 271 w 271"/>
                <a:gd name="T1" fmla="*/ 77 h 272"/>
                <a:gd name="T2" fmla="*/ 271 w 271"/>
                <a:gd name="T3" fmla="*/ 38 h 272"/>
                <a:gd name="T4" fmla="*/ 193 w 271"/>
                <a:gd name="T5" fmla="*/ 38 h 272"/>
                <a:gd name="T6" fmla="*/ 193 w 271"/>
                <a:gd name="T7" fmla="*/ 77 h 272"/>
                <a:gd name="T8" fmla="*/ 155 w 271"/>
                <a:gd name="T9" fmla="*/ 77 h 272"/>
                <a:gd name="T10" fmla="*/ 155 w 271"/>
                <a:gd name="T11" fmla="*/ 38 h 272"/>
                <a:gd name="T12" fmla="*/ 116 w 271"/>
                <a:gd name="T13" fmla="*/ 38 h 272"/>
                <a:gd name="T14" fmla="*/ 116 w 271"/>
                <a:gd name="T15" fmla="*/ 0 h 272"/>
                <a:gd name="T16" fmla="*/ 0 w 271"/>
                <a:gd name="T17" fmla="*/ 0 h 272"/>
                <a:gd name="T18" fmla="*/ 0 w 271"/>
                <a:gd name="T19" fmla="*/ 38 h 272"/>
                <a:gd name="T20" fmla="*/ 38 w 271"/>
                <a:gd name="T21" fmla="*/ 38 h 272"/>
                <a:gd name="T22" fmla="*/ 38 w 271"/>
                <a:gd name="T23" fmla="*/ 77 h 272"/>
                <a:gd name="T24" fmla="*/ 0 w 271"/>
                <a:gd name="T25" fmla="*/ 77 h 272"/>
                <a:gd name="T26" fmla="*/ 0 w 271"/>
                <a:gd name="T27" fmla="*/ 272 h 272"/>
                <a:gd name="T28" fmla="*/ 77 w 271"/>
                <a:gd name="T29" fmla="*/ 272 h 272"/>
                <a:gd name="T30" fmla="*/ 77 w 271"/>
                <a:gd name="T31" fmla="*/ 233 h 272"/>
                <a:gd name="T32" fmla="*/ 116 w 271"/>
                <a:gd name="T33" fmla="*/ 233 h 272"/>
                <a:gd name="T34" fmla="*/ 116 w 271"/>
                <a:gd name="T35" fmla="*/ 272 h 272"/>
                <a:gd name="T36" fmla="*/ 155 w 271"/>
                <a:gd name="T37" fmla="*/ 272 h 272"/>
                <a:gd name="T38" fmla="*/ 155 w 271"/>
                <a:gd name="T39" fmla="*/ 193 h 272"/>
                <a:gd name="T40" fmla="*/ 116 w 271"/>
                <a:gd name="T41" fmla="*/ 193 h 272"/>
                <a:gd name="T42" fmla="*/ 116 w 271"/>
                <a:gd name="T43" fmla="*/ 155 h 272"/>
                <a:gd name="T44" fmla="*/ 155 w 271"/>
                <a:gd name="T45" fmla="*/ 155 h 272"/>
                <a:gd name="T46" fmla="*/ 155 w 271"/>
                <a:gd name="T47" fmla="*/ 116 h 272"/>
                <a:gd name="T48" fmla="*/ 193 w 271"/>
                <a:gd name="T49" fmla="*/ 116 h 272"/>
                <a:gd name="T50" fmla="*/ 193 w 271"/>
                <a:gd name="T51" fmla="*/ 155 h 272"/>
                <a:gd name="T52" fmla="*/ 155 w 271"/>
                <a:gd name="T53" fmla="*/ 155 h 272"/>
                <a:gd name="T54" fmla="*/ 155 w 271"/>
                <a:gd name="T55" fmla="*/ 193 h 272"/>
                <a:gd name="T56" fmla="*/ 232 w 271"/>
                <a:gd name="T57" fmla="*/ 193 h 272"/>
                <a:gd name="T58" fmla="*/ 232 w 271"/>
                <a:gd name="T59" fmla="*/ 155 h 272"/>
                <a:gd name="T60" fmla="*/ 271 w 271"/>
                <a:gd name="T61" fmla="*/ 155 h 272"/>
                <a:gd name="T62" fmla="*/ 271 w 271"/>
                <a:gd name="T63" fmla="*/ 116 h 272"/>
                <a:gd name="T64" fmla="*/ 232 w 271"/>
                <a:gd name="T65" fmla="*/ 116 h 272"/>
                <a:gd name="T66" fmla="*/ 232 w 271"/>
                <a:gd name="T67" fmla="*/ 77 h 272"/>
                <a:gd name="T68" fmla="*/ 271 w 271"/>
                <a:gd name="T69" fmla="*/ 77 h 272"/>
                <a:gd name="T70" fmla="*/ 77 w 271"/>
                <a:gd name="T71" fmla="*/ 193 h 272"/>
                <a:gd name="T72" fmla="*/ 38 w 271"/>
                <a:gd name="T73" fmla="*/ 193 h 272"/>
                <a:gd name="T74" fmla="*/ 38 w 271"/>
                <a:gd name="T75" fmla="*/ 155 h 272"/>
                <a:gd name="T76" fmla="*/ 77 w 271"/>
                <a:gd name="T77" fmla="*/ 155 h 272"/>
                <a:gd name="T78" fmla="*/ 77 w 271"/>
                <a:gd name="T79" fmla="*/ 193 h 272"/>
                <a:gd name="T80" fmla="*/ 116 w 271"/>
                <a:gd name="T81" fmla="*/ 116 h 272"/>
                <a:gd name="T82" fmla="*/ 77 w 271"/>
                <a:gd name="T83" fmla="*/ 116 h 272"/>
                <a:gd name="T84" fmla="*/ 77 w 271"/>
                <a:gd name="T85" fmla="*/ 77 h 272"/>
                <a:gd name="T86" fmla="*/ 116 w 271"/>
                <a:gd name="T87" fmla="*/ 77 h 272"/>
                <a:gd name="T88" fmla="*/ 116 w 271"/>
                <a:gd name="T89" fmla="*/ 116 h 2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271" h="272">
                  <a:moveTo>
                    <a:pt x="271" y="77"/>
                  </a:moveTo>
                  <a:lnTo>
                    <a:pt x="271" y="38"/>
                  </a:lnTo>
                  <a:lnTo>
                    <a:pt x="193" y="38"/>
                  </a:lnTo>
                  <a:lnTo>
                    <a:pt x="193" y="77"/>
                  </a:lnTo>
                  <a:lnTo>
                    <a:pt x="155" y="77"/>
                  </a:lnTo>
                  <a:lnTo>
                    <a:pt x="155" y="38"/>
                  </a:lnTo>
                  <a:lnTo>
                    <a:pt x="116" y="38"/>
                  </a:lnTo>
                  <a:lnTo>
                    <a:pt x="116" y="0"/>
                  </a:lnTo>
                  <a:lnTo>
                    <a:pt x="0" y="0"/>
                  </a:lnTo>
                  <a:lnTo>
                    <a:pt x="0" y="38"/>
                  </a:lnTo>
                  <a:lnTo>
                    <a:pt x="38" y="38"/>
                  </a:lnTo>
                  <a:lnTo>
                    <a:pt x="38" y="77"/>
                  </a:lnTo>
                  <a:lnTo>
                    <a:pt x="0" y="77"/>
                  </a:lnTo>
                  <a:lnTo>
                    <a:pt x="0" y="272"/>
                  </a:lnTo>
                  <a:lnTo>
                    <a:pt x="77" y="272"/>
                  </a:lnTo>
                  <a:lnTo>
                    <a:pt x="77" y="233"/>
                  </a:lnTo>
                  <a:lnTo>
                    <a:pt x="116" y="233"/>
                  </a:lnTo>
                  <a:lnTo>
                    <a:pt x="116" y="272"/>
                  </a:lnTo>
                  <a:lnTo>
                    <a:pt x="155" y="272"/>
                  </a:lnTo>
                  <a:lnTo>
                    <a:pt x="155" y="193"/>
                  </a:lnTo>
                  <a:lnTo>
                    <a:pt x="116" y="193"/>
                  </a:lnTo>
                  <a:lnTo>
                    <a:pt x="116" y="155"/>
                  </a:lnTo>
                  <a:lnTo>
                    <a:pt x="155" y="155"/>
                  </a:lnTo>
                  <a:lnTo>
                    <a:pt x="155" y="116"/>
                  </a:lnTo>
                  <a:lnTo>
                    <a:pt x="193" y="116"/>
                  </a:lnTo>
                  <a:lnTo>
                    <a:pt x="193" y="155"/>
                  </a:lnTo>
                  <a:lnTo>
                    <a:pt x="155" y="155"/>
                  </a:lnTo>
                  <a:lnTo>
                    <a:pt x="155" y="193"/>
                  </a:lnTo>
                  <a:lnTo>
                    <a:pt x="232" y="193"/>
                  </a:lnTo>
                  <a:lnTo>
                    <a:pt x="232" y="155"/>
                  </a:lnTo>
                  <a:lnTo>
                    <a:pt x="271" y="155"/>
                  </a:lnTo>
                  <a:lnTo>
                    <a:pt x="271" y="116"/>
                  </a:lnTo>
                  <a:lnTo>
                    <a:pt x="232" y="116"/>
                  </a:lnTo>
                  <a:lnTo>
                    <a:pt x="232" y="77"/>
                  </a:lnTo>
                  <a:lnTo>
                    <a:pt x="271" y="77"/>
                  </a:lnTo>
                  <a:close/>
                  <a:moveTo>
                    <a:pt x="77" y="193"/>
                  </a:moveTo>
                  <a:lnTo>
                    <a:pt x="38" y="193"/>
                  </a:lnTo>
                  <a:lnTo>
                    <a:pt x="38" y="155"/>
                  </a:lnTo>
                  <a:lnTo>
                    <a:pt x="77" y="155"/>
                  </a:lnTo>
                  <a:lnTo>
                    <a:pt x="77" y="193"/>
                  </a:lnTo>
                  <a:close/>
                  <a:moveTo>
                    <a:pt x="116" y="116"/>
                  </a:moveTo>
                  <a:lnTo>
                    <a:pt x="77" y="116"/>
                  </a:lnTo>
                  <a:lnTo>
                    <a:pt x="77" y="77"/>
                  </a:lnTo>
                  <a:lnTo>
                    <a:pt x="116" y="77"/>
                  </a:lnTo>
                  <a:lnTo>
                    <a:pt x="116" y="11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5" name="Rectangle 8">
              <a:extLst>
                <a:ext uri="{FF2B5EF4-FFF2-40B4-BE49-F238E27FC236}">
                  <a16:creationId xmlns:a16="http://schemas.microsoft.com/office/drawing/2014/main" id="{9C654C42-9808-4E57-B5E3-E409B95B9C50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1439863" y="6272213"/>
              <a:ext cx="61913" cy="619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6" name="Rectangle 9">
              <a:extLst>
                <a:ext uri="{FF2B5EF4-FFF2-40B4-BE49-F238E27FC236}">
                  <a16:creationId xmlns:a16="http://schemas.microsoft.com/office/drawing/2014/main" id="{F33F2CCD-21F1-45C5-908E-E6889F644A21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1501775" y="6334126"/>
              <a:ext cx="60325" cy="619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7" name="Freeform 10">
              <a:extLst>
                <a:ext uri="{FF2B5EF4-FFF2-40B4-BE49-F238E27FC236}">
                  <a16:creationId xmlns:a16="http://schemas.microsoft.com/office/drawing/2014/main" id="{9D1F4EF7-B5CF-461C-890E-2238191A281C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1439863" y="6456363"/>
              <a:ext cx="122238" cy="125413"/>
            </a:xfrm>
            <a:custGeom>
              <a:avLst/>
              <a:gdLst>
                <a:gd name="T0" fmla="*/ 39 w 77"/>
                <a:gd name="T1" fmla="*/ 0 h 79"/>
                <a:gd name="T2" fmla="*/ 0 w 77"/>
                <a:gd name="T3" fmla="*/ 0 h 79"/>
                <a:gd name="T4" fmla="*/ 0 w 77"/>
                <a:gd name="T5" fmla="*/ 40 h 79"/>
                <a:gd name="T6" fmla="*/ 39 w 77"/>
                <a:gd name="T7" fmla="*/ 40 h 79"/>
                <a:gd name="T8" fmla="*/ 39 w 77"/>
                <a:gd name="T9" fmla="*/ 79 h 79"/>
                <a:gd name="T10" fmla="*/ 77 w 77"/>
                <a:gd name="T11" fmla="*/ 79 h 79"/>
                <a:gd name="T12" fmla="*/ 77 w 77"/>
                <a:gd name="T13" fmla="*/ 40 h 79"/>
                <a:gd name="T14" fmla="*/ 39 w 77"/>
                <a:gd name="T15" fmla="*/ 40 h 79"/>
                <a:gd name="T16" fmla="*/ 39 w 77"/>
                <a:gd name="T17" fmla="*/ 0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7" h="79">
                  <a:moveTo>
                    <a:pt x="39" y="0"/>
                  </a:moveTo>
                  <a:lnTo>
                    <a:pt x="0" y="0"/>
                  </a:lnTo>
                  <a:lnTo>
                    <a:pt x="0" y="40"/>
                  </a:lnTo>
                  <a:lnTo>
                    <a:pt x="39" y="40"/>
                  </a:lnTo>
                  <a:lnTo>
                    <a:pt x="39" y="79"/>
                  </a:lnTo>
                  <a:lnTo>
                    <a:pt x="77" y="79"/>
                  </a:lnTo>
                  <a:lnTo>
                    <a:pt x="77" y="40"/>
                  </a:lnTo>
                  <a:lnTo>
                    <a:pt x="39" y="40"/>
                  </a:lnTo>
                  <a:lnTo>
                    <a:pt x="39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8" name="Rectangle 11">
              <a:extLst>
                <a:ext uri="{FF2B5EF4-FFF2-40B4-BE49-F238E27FC236}">
                  <a16:creationId xmlns:a16="http://schemas.microsoft.com/office/drawing/2014/main" id="{E82B2A97-A730-453E-A9E1-D9B2B41F85F7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1316038" y="6519863"/>
              <a:ext cx="61913" cy="619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  <p:sp>
        <p:nvSpPr>
          <p:cNvPr id="20" name="Titel 1">
            <a:extLst>
              <a:ext uri="{FF2B5EF4-FFF2-40B4-BE49-F238E27FC236}">
                <a16:creationId xmlns:a16="http://schemas.microsoft.com/office/drawing/2014/main" id="{8EEF7C58-DBFD-41AB-882C-1A04F88F0F39}"/>
              </a:ext>
            </a:extLst>
          </p:cNvPr>
          <p:cNvSpPr>
            <a:spLocks noGrp="1"/>
          </p:cNvSpPr>
          <p:nvPr>
            <p:ph type="ctrTitle"/>
          </p:nvPr>
        </p:nvSpPr>
        <p:spPr bwMode="gray">
          <a:xfrm>
            <a:off x="749080" y="1537341"/>
            <a:ext cx="4902198" cy="1329595"/>
          </a:xfrm>
        </p:spPr>
        <p:txBody>
          <a:bodyPr anchor="t" anchorCtr="0">
            <a:spAutoFit/>
          </a:bodyPr>
          <a:lstStyle>
            <a:lvl1pPr algn="l">
              <a:defRPr sz="4800" b="0">
                <a:solidFill>
                  <a:schemeClr val="tx1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grpSp>
        <p:nvGrpSpPr>
          <p:cNvPr id="21" name="Gruppieren 20">
            <a:extLst>
              <a:ext uri="{FF2B5EF4-FFF2-40B4-BE49-F238E27FC236}">
                <a16:creationId xmlns:a16="http://schemas.microsoft.com/office/drawing/2014/main" id="{AA3054C2-104B-43C0-8A44-013C6C6FD736}"/>
              </a:ext>
            </a:extLst>
          </p:cNvPr>
          <p:cNvGrpSpPr/>
          <p:nvPr userDrawn="1"/>
        </p:nvGrpSpPr>
        <p:grpSpPr bwMode="gray">
          <a:xfrm>
            <a:off x="10059991" y="523875"/>
            <a:ext cx="1589088" cy="593725"/>
            <a:chOff x="10059991" y="523875"/>
            <a:chExt cx="1589088" cy="593725"/>
          </a:xfrm>
        </p:grpSpPr>
        <p:pic>
          <p:nvPicPr>
            <p:cNvPr id="22" name="Grafik 21">
              <a:extLst>
                <a:ext uri="{FF2B5EF4-FFF2-40B4-BE49-F238E27FC236}">
                  <a16:creationId xmlns:a16="http://schemas.microsoft.com/office/drawing/2014/main" id="{5F0FF819-AC62-44EC-9C0C-1ECF6F96CBE0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/>
            <a:srcRect b="11159"/>
            <a:stretch/>
          </p:blipFill>
          <p:spPr bwMode="gray">
            <a:xfrm>
              <a:off x="10521315" y="859154"/>
              <a:ext cx="59055" cy="60961"/>
            </a:xfrm>
            <a:prstGeom prst="rect">
              <a:avLst/>
            </a:prstGeom>
          </p:spPr>
        </p:pic>
        <p:grpSp>
          <p:nvGrpSpPr>
            <p:cNvPr id="23" name="Group 4">
              <a:extLst>
                <a:ext uri="{FF2B5EF4-FFF2-40B4-BE49-F238E27FC236}">
                  <a16:creationId xmlns:a16="http://schemas.microsoft.com/office/drawing/2014/main" id="{EC005DD8-62CB-4A95-A427-435A93182F8D}"/>
                </a:ext>
              </a:extLst>
            </p:cNvPr>
            <p:cNvGrpSpPr>
              <a:grpSpLocks noChangeAspect="1"/>
            </p:cNvGrpSpPr>
            <p:nvPr userDrawn="1"/>
          </p:nvGrpSpPr>
          <p:grpSpPr bwMode="gray">
            <a:xfrm>
              <a:off x="10059991" y="523875"/>
              <a:ext cx="1589088" cy="593725"/>
              <a:chOff x="6337" y="330"/>
              <a:chExt cx="1001" cy="374"/>
            </a:xfrm>
            <a:solidFill>
              <a:schemeClr val="accent1"/>
            </a:solidFill>
          </p:grpSpPr>
          <p:sp>
            <p:nvSpPr>
              <p:cNvPr id="24" name="Freeform 5">
                <a:extLst>
                  <a:ext uri="{FF2B5EF4-FFF2-40B4-BE49-F238E27FC236}">
                    <a16:creationId xmlns:a16="http://schemas.microsoft.com/office/drawing/2014/main" id="{5859DAA7-45E5-4BD9-8B0C-EC90FB3C40A2}"/>
                  </a:ext>
                </a:extLst>
              </p:cNvPr>
              <p:cNvSpPr>
                <a:spLocks noEditPoints="1"/>
              </p:cNvSpPr>
              <p:nvPr userDrawn="1"/>
            </p:nvSpPr>
            <p:spPr bwMode="gray">
              <a:xfrm>
                <a:off x="6340" y="388"/>
                <a:ext cx="997" cy="195"/>
              </a:xfrm>
              <a:custGeom>
                <a:avLst/>
                <a:gdLst>
                  <a:gd name="T0" fmla="*/ 236 w 1284"/>
                  <a:gd name="T1" fmla="*/ 17 h 250"/>
                  <a:gd name="T2" fmla="*/ 98 w 1284"/>
                  <a:gd name="T3" fmla="*/ 17 h 250"/>
                  <a:gd name="T4" fmla="*/ 0 w 1284"/>
                  <a:gd name="T5" fmla="*/ 116 h 250"/>
                  <a:gd name="T6" fmla="*/ 56 w 1284"/>
                  <a:gd name="T7" fmla="*/ 244 h 250"/>
                  <a:gd name="T8" fmla="*/ 68 w 1284"/>
                  <a:gd name="T9" fmla="*/ 81 h 250"/>
                  <a:gd name="T10" fmla="*/ 128 w 1284"/>
                  <a:gd name="T11" fmla="*/ 81 h 250"/>
                  <a:gd name="T12" fmla="*/ 139 w 1284"/>
                  <a:gd name="T13" fmla="*/ 116 h 250"/>
                  <a:gd name="T14" fmla="*/ 196 w 1284"/>
                  <a:gd name="T15" fmla="*/ 244 h 250"/>
                  <a:gd name="T16" fmla="*/ 195 w 1284"/>
                  <a:gd name="T17" fmla="*/ 107 h 250"/>
                  <a:gd name="T18" fmla="*/ 236 w 1284"/>
                  <a:gd name="T19" fmla="*/ 69 h 250"/>
                  <a:gd name="T20" fmla="*/ 279 w 1284"/>
                  <a:gd name="T21" fmla="*/ 112 h 250"/>
                  <a:gd name="T22" fmla="*/ 335 w 1284"/>
                  <a:gd name="T23" fmla="*/ 244 h 250"/>
                  <a:gd name="T24" fmla="*/ 307 w 1284"/>
                  <a:gd name="T25" fmla="*/ 44 h 250"/>
                  <a:gd name="T26" fmla="*/ 477 w 1284"/>
                  <a:gd name="T27" fmla="*/ 129 h 250"/>
                  <a:gd name="T28" fmla="*/ 485 w 1284"/>
                  <a:gd name="T29" fmla="*/ 120 h 250"/>
                  <a:gd name="T30" fmla="*/ 477 w 1284"/>
                  <a:gd name="T31" fmla="*/ 102 h 250"/>
                  <a:gd name="T32" fmla="*/ 486 w 1284"/>
                  <a:gd name="T33" fmla="*/ 111 h 250"/>
                  <a:gd name="T34" fmla="*/ 477 w 1284"/>
                  <a:gd name="T35" fmla="*/ 102 h 250"/>
                  <a:gd name="T36" fmla="*/ 506 w 1284"/>
                  <a:gd name="T37" fmla="*/ 103 h 250"/>
                  <a:gd name="T38" fmla="*/ 515 w 1284"/>
                  <a:gd name="T39" fmla="*/ 95 h 250"/>
                  <a:gd name="T40" fmla="*/ 455 w 1284"/>
                  <a:gd name="T41" fmla="*/ 88 h 250"/>
                  <a:gd name="T42" fmla="*/ 463 w 1284"/>
                  <a:gd name="T43" fmla="*/ 94 h 250"/>
                  <a:gd name="T44" fmla="*/ 455 w 1284"/>
                  <a:gd name="T45" fmla="*/ 88 h 250"/>
                  <a:gd name="T46" fmla="*/ 493 w 1284"/>
                  <a:gd name="T47" fmla="*/ 120 h 250"/>
                  <a:gd name="T48" fmla="*/ 501 w 1284"/>
                  <a:gd name="T49" fmla="*/ 112 h 250"/>
                  <a:gd name="T50" fmla="*/ 491 w 1284"/>
                  <a:gd name="T51" fmla="*/ 136 h 250"/>
                  <a:gd name="T52" fmla="*/ 500 w 1284"/>
                  <a:gd name="T53" fmla="*/ 144 h 250"/>
                  <a:gd name="T54" fmla="*/ 491 w 1284"/>
                  <a:gd name="T55" fmla="*/ 136 h 250"/>
                  <a:gd name="T56" fmla="*/ 892 w 1284"/>
                  <a:gd name="T57" fmla="*/ 0 h 250"/>
                  <a:gd name="T58" fmla="*/ 766 w 1284"/>
                  <a:gd name="T59" fmla="*/ 124 h 250"/>
                  <a:gd name="T60" fmla="*/ 892 w 1284"/>
                  <a:gd name="T61" fmla="*/ 249 h 250"/>
                  <a:gd name="T62" fmla="*/ 1019 w 1284"/>
                  <a:gd name="T63" fmla="*/ 124 h 250"/>
                  <a:gd name="T64" fmla="*/ 942 w 1284"/>
                  <a:gd name="T65" fmla="*/ 177 h 250"/>
                  <a:gd name="T66" fmla="*/ 842 w 1284"/>
                  <a:gd name="T67" fmla="*/ 177 h 250"/>
                  <a:gd name="T68" fmla="*/ 842 w 1284"/>
                  <a:gd name="T69" fmla="*/ 72 h 250"/>
                  <a:gd name="T70" fmla="*/ 942 w 1284"/>
                  <a:gd name="T71" fmla="*/ 72 h 250"/>
                  <a:gd name="T72" fmla="*/ 942 w 1284"/>
                  <a:gd name="T73" fmla="*/ 177 h 250"/>
                  <a:gd name="T74" fmla="*/ 1244 w 1284"/>
                  <a:gd name="T75" fmla="*/ 164 h 250"/>
                  <a:gd name="T76" fmla="*/ 1132 w 1284"/>
                  <a:gd name="T77" fmla="*/ 177 h 250"/>
                  <a:gd name="T78" fmla="*/ 1132 w 1284"/>
                  <a:gd name="T79" fmla="*/ 72 h 250"/>
                  <a:gd name="T80" fmla="*/ 1244 w 1284"/>
                  <a:gd name="T81" fmla="*/ 86 h 250"/>
                  <a:gd name="T82" fmla="*/ 1284 w 1284"/>
                  <a:gd name="T83" fmla="*/ 57 h 250"/>
                  <a:gd name="T84" fmla="*/ 1242 w 1284"/>
                  <a:gd name="T85" fmla="*/ 15 h 250"/>
                  <a:gd name="T86" fmla="*/ 1093 w 1284"/>
                  <a:gd name="T87" fmla="*/ 36 h 250"/>
                  <a:gd name="T88" fmla="*/ 1093 w 1284"/>
                  <a:gd name="T89" fmla="*/ 213 h 250"/>
                  <a:gd name="T90" fmla="*/ 1283 w 1284"/>
                  <a:gd name="T91" fmla="*/ 194 h 250"/>
                  <a:gd name="T92" fmla="*/ 1245 w 1284"/>
                  <a:gd name="T93" fmla="*/ 162 h 2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1284" h="250">
                    <a:moveTo>
                      <a:pt x="307" y="44"/>
                    </a:moveTo>
                    <a:cubicBezTo>
                      <a:pt x="287" y="25"/>
                      <a:pt x="263" y="17"/>
                      <a:pt x="236" y="17"/>
                    </a:cubicBezTo>
                    <a:cubicBezTo>
                      <a:pt x="210" y="17"/>
                      <a:pt x="187" y="25"/>
                      <a:pt x="167" y="44"/>
                    </a:cubicBezTo>
                    <a:cubicBezTo>
                      <a:pt x="148" y="25"/>
                      <a:pt x="125" y="17"/>
                      <a:pt x="98" y="17"/>
                    </a:cubicBezTo>
                    <a:cubicBezTo>
                      <a:pt x="71" y="17"/>
                      <a:pt x="48" y="25"/>
                      <a:pt x="28" y="44"/>
                    </a:cubicBezTo>
                    <a:cubicBezTo>
                      <a:pt x="8" y="63"/>
                      <a:pt x="0" y="88"/>
                      <a:pt x="0" y="116"/>
                    </a:cubicBezTo>
                    <a:cubicBezTo>
                      <a:pt x="0" y="244"/>
                      <a:pt x="0" y="244"/>
                      <a:pt x="0" y="244"/>
                    </a:cubicBezTo>
                    <a:cubicBezTo>
                      <a:pt x="56" y="244"/>
                      <a:pt x="56" y="244"/>
                      <a:pt x="56" y="244"/>
                    </a:cubicBezTo>
                    <a:cubicBezTo>
                      <a:pt x="56" y="112"/>
                      <a:pt x="56" y="112"/>
                      <a:pt x="56" y="112"/>
                    </a:cubicBezTo>
                    <a:cubicBezTo>
                      <a:pt x="56" y="100"/>
                      <a:pt x="59" y="89"/>
                      <a:pt x="68" y="81"/>
                    </a:cubicBezTo>
                    <a:cubicBezTo>
                      <a:pt x="76" y="73"/>
                      <a:pt x="87" y="69"/>
                      <a:pt x="98" y="69"/>
                    </a:cubicBezTo>
                    <a:cubicBezTo>
                      <a:pt x="110" y="69"/>
                      <a:pt x="120" y="73"/>
                      <a:pt x="128" y="81"/>
                    </a:cubicBezTo>
                    <a:cubicBezTo>
                      <a:pt x="135" y="88"/>
                      <a:pt x="139" y="97"/>
                      <a:pt x="140" y="107"/>
                    </a:cubicBezTo>
                    <a:cubicBezTo>
                      <a:pt x="140" y="110"/>
                      <a:pt x="139" y="113"/>
                      <a:pt x="139" y="116"/>
                    </a:cubicBezTo>
                    <a:cubicBezTo>
                      <a:pt x="139" y="244"/>
                      <a:pt x="139" y="244"/>
                      <a:pt x="139" y="244"/>
                    </a:cubicBezTo>
                    <a:cubicBezTo>
                      <a:pt x="196" y="244"/>
                      <a:pt x="196" y="244"/>
                      <a:pt x="196" y="244"/>
                    </a:cubicBezTo>
                    <a:cubicBezTo>
                      <a:pt x="196" y="116"/>
                      <a:pt x="196" y="116"/>
                      <a:pt x="196" y="116"/>
                    </a:cubicBezTo>
                    <a:cubicBezTo>
                      <a:pt x="196" y="113"/>
                      <a:pt x="195" y="110"/>
                      <a:pt x="195" y="107"/>
                    </a:cubicBezTo>
                    <a:cubicBezTo>
                      <a:pt x="195" y="97"/>
                      <a:pt x="200" y="88"/>
                      <a:pt x="207" y="81"/>
                    </a:cubicBezTo>
                    <a:cubicBezTo>
                      <a:pt x="215" y="73"/>
                      <a:pt x="225" y="69"/>
                      <a:pt x="236" y="69"/>
                    </a:cubicBezTo>
                    <a:cubicBezTo>
                      <a:pt x="248" y="69"/>
                      <a:pt x="259" y="73"/>
                      <a:pt x="267" y="81"/>
                    </a:cubicBezTo>
                    <a:cubicBezTo>
                      <a:pt x="276" y="89"/>
                      <a:pt x="279" y="100"/>
                      <a:pt x="279" y="112"/>
                    </a:cubicBezTo>
                    <a:cubicBezTo>
                      <a:pt x="279" y="244"/>
                      <a:pt x="279" y="244"/>
                      <a:pt x="279" y="244"/>
                    </a:cubicBezTo>
                    <a:cubicBezTo>
                      <a:pt x="335" y="244"/>
                      <a:pt x="335" y="244"/>
                      <a:pt x="335" y="244"/>
                    </a:cubicBezTo>
                    <a:cubicBezTo>
                      <a:pt x="335" y="117"/>
                      <a:pt x="335" y="117"/>
                      <a:pt x="335" y="117"/>
                    </a:cubicBezTo>
                    <a:cubicBezTo>
                      <a:pt x="335" y="90"/>
                      <a:pt x="327" y="63"/>
                      <a:pt x="307" y="44"/>
                    </a:cubicBezTo>
                    <a:close/>
                    <a:moveTo>
                      <a:pt x="477" y="120"/>
                    </a:moveTo>
                    <a:cubicBezTo>
                      <a:pt x="477" y="129"/>
                      <a:pt x="477" y="129"/>
                      <a:pt x="477" y="129"/>
                    </a:cubicBezTo>
                    <a:cubicBezTo>
                      <a:pt x="485" y="129"/>
                      <a:pt x="485" y="129"/>
                      <a:pt x="485" y="129"/>
                    </a:cubicBezTo>
                    <a:cubicBezTo>
                      <a:pt x="485" y="120"/>
                      <a:pt x="485" y="120"/>
                      <a:pt x="485" y="120"/>
                    </a:cubicBezTo>
                    <a:lnTo>
                      <a:pt x="477" y="120"/>
                    </a:lnTo>
                    <a:close/>
                    <a:moveTo>
                      <a:pt x="477" y="102"/>
                    </a:moveTo>
                    <a:cubicBezTo>
                      <a:pt x="477" y="111"/>
                      <a:pt x="477" y="111"/>
                      <a:pt x="477" y="111"/>
                    </a:cubicBezTo>
                    <a:cubicBezTo>
                      <a:pt x="486" y="111"/>
                      <a:pt x="486" y="111"/>
                      <a:pt x="486" y="111"/>
                    </a:cubicBezTo>
                    <a:cubicBezTo>
                      <a:pt x="486" y="102"/>
                      <a:pt x="486" y="102"/>
                      <a:pt x="486" y="102"/>
                    </a:cubicBezTo>
                    <a:lnTo>
                      <a:pt x="477" y="102"/>
                    </a:lnTo>
                    <a:close/>
                    <a:moveTo>
                      <a:pt x="506" y="95"/>
                    </a:moveTo>
                    <a:cubicBezTo>
                      <a:pt x="506" y="103"/>
                      <a:pt x="506" y="103"/>
                      <a:pt x="506" y="103"/>
                    </a:cubicBezTo>
                    <a:cubicBezTo>
                      <a:pt x="515" y="103"/>
                      <a:pt x="515" y="103"/>
                      <a:pt x="515" y="103"/>
                    </a:cubicBezTo>
                    <a:cubicBezTo>
                      <a:pt x="515" y="95"/>
                      <a:pt x="515" y="95"/>
                      <a:pt x="515" y="95"/>
                    </a:cubicBezTo>
                    <a:lnTo>
                      <a:pt x="506" y="95"/>
                    </a:lnTo>
                    <a:close/>
                    <a:moveTo>
                      <a:pt x="455" y="88"/>
                    </a:moveTo>
                    <a:cubicBezTo>
                      <a:pt x="455" y="94"/>
                      <a:pt x="455" y="94"/>
                      <a:pt x="455" y="94"/>
                    </a:cubicBezTo>
                    <a:cubicBezTo>
                      <a:pt x="463" y="94"/>
                      <a:pt x="463" y="94"/>
                      <a:pt x="463" y="94"/>
                    </a:cubicBezTo>
                    <a:cubicBezTo>
                      <a:pt x="463" y="88"/>
                      <a:pt x="463" y="88"/>
                      <a:pt x="463" y="88"/>
                    </a:cubicBezTo>
                    <a:lnTo>
                      <a:pt x="455" y="88"/>
                    </a:lnTo>
                    <a:close/>
                    <a:moveTo>
                      <a:pt x="493" y="112"/>
                    </a:moveTo>
                    <a:cubicBezTo>
                      <a:pt x="493" y="120"/>
                      <a:pt x="493" y="120"/>
                      <a:pt x="493" y="120"/>
                    </a:cubicBezTo>
                    <a:cubicBezTo>
                      <a:pt x="501" y="120"/>
                      <a:pt x="501" y="120"/>
                      <a:pt x="501" y="120"/>
                    </a:cubicBezTo>
                    <a:cubicBezTo>
                      <a:pt x="501" y="112"/>
                      <a:pt x="501" y="112"/>
                      <a:pt x="501" y="112"/>
                    </a:cubicBezTo>
                    <a:lnTo>
                      <a:pt x="493" y="112"/>
                    </a:lnTo>
                    <a:close/>
                    <a:moveTo>
                      <a:pt x="491" y="136"/>
                    </a:moveTo>
                    <a:cubicBezTo>
                      <a:pt x="491" y="144"/>
                      <a:pt x="491" y="144"/>
                      <a:pt x="491" y="144"/>
                    </a:cubicBezTo>
                    <a:cubicBezTo>
                      <a:pt x="500" y="144"/>
                      <a:pt x="500" y="144"/>
                      <a:pt x="500" y="144"/>
                    </a:cubicBezTo>
                    <a:cubicBezTo>
                      <a:pt x="500" y="136"/>
                      <a:pt x="500" y="136"/>
                      <a:pt x="500" y="136"/>
                    </a:cubicBezTo>
                    <a:lnTo>
                      <a:pt x="491" y="136"/>
                    </a:lnTo>
                    <a:close/>
                    <a:moveTo>
                      <a:pt x="982" y="36"/>
                    </a:moveTo>
                    <a:cubicBezTo>
                      <a:pt x="957" y="12"/>
                      <a:pt x="927" y="0"/>
                      <a:pt x="892" y="0"/>
                    </a:cubicBezTo>
                    <a:cubicBezTo>
                      <a:pt x="857" y="0"/>
                      <a:pt x="827" y="12"/>
                      <a:pt x="802" y="36"/>
                    </a:cubicBezTo>
                    <a:cubicBezTo>
                      <a:pt x="778" y="60"/>
                      <a:pt x="766" y="90"/>
                      <a:pt x="766" y="124"/>
                    </a:cubicBezTo>
                    <a:cubicBezTo>
                      <a:pt x="766" y="159"/>
                      <a:pt x="778" y="189"/>
                      <a:pt x="802" y="213"/>
                    </a:cubicBezTo>
                    <a:cubicBezTo>
                      <a:pt x="827" y="237"/>
                      <a:pt x="857" y="249"/>
                      <a:pt x="892" y="249"/>
                    </a:cubicBezTo>
                    <a:cubicBezTo>
                      <a:pt x="927" y="250"/>
                      <a:pt x="957" y="237"/>
                      <a:pt x="982" y="213"/>
                    </a:cubicBezTo>
                    <a:cubicBezTo>
                      <a:pt x="1006" y="189"/>
                      <a:pt x="1019" y="159"/>
                      <a:pt x="1019" y="124"/>
                    </a:cubicBezTo>
                    <a:cubicBezTo>
                      <a:pt x="1019" y="90"/>
                      <a:pt x="1006" y="60"/>
                      <a:pt x="982" y="36"/>
                    </a:cubicBezTo>
                    <a:close/>
                    <a:moveTo>
                      <a:pt x="942" y="177"/>
                    </a:moveTo>
                    <a:cubicBezTo>
                      <a:pt x="928" y="191"/>
                      <a:pt x="912" y="198"/>
                      <a:pt x="892" y="198"/>
                    </a:cubicBezTo>
                    <a:cubicBezTo>
                      <a:pt x="872" y="198"/>
                      <a:pt x="855" y="192"/>
                      <a:pt x="842" y="177"/>
                    </a:cubicBezTo>
                    <a:cubicBezTo>
                      <a:pt x="828" y="163"/>
                      <a:pt x="822" y="145"/>
                      <a:pt x="822" y="125"/>
                    </a:cubicBezTo>
                    <a:cubicBezTo>
                      <a:pt x="822" y="105"/>
                      <a:pt x="828" y="87"/>
                      <a:pt x="842" y="72"/>
                    </a:cubicBezTo>
                    <a:cubicBezTo>
                      <a:pt x="856" y="58"/>
                      <a:pt x="873" y="51"/>
                      <a:pt x="892" y="51"/>
                    </a:cubicBezTo>
                    <a:cubicBezTo>
                      <a:pt x="912" y="51"/>
                      <a:pt x="929" y="58"/>
                      <a:pt x="942" y="72"/>
                    </a:cubicBezTo>
                    <a:cubicBezTo>
                      <a:pt x="956" y="87"/>
                      <a:pt x="962" y="105"/>
                      <a:pt x="962" y="125"/>
                    </a:cubicBezTo>
                    <a:cubicBezTo>
                      <a:pt x="962" y="145"/>
                      <a:pt x="956" y="163"/>
                      <a:pt x="942" y="177"/>
                    </a:cubicBezTo>
                    <a:close/>
                    <a:moveTo>
                      <a:pt x="1245" y="162"/>
                    </a:moveTo>
                    <a:cubicBezTo>
                      <a:pt x="1244" y="164"/>
                      <a:pt x="1244" y="164"/>
                      <a:pt x="1244" y="164"/>
                    </a:cubicBezTo>
                    <a:cubicBezTo>
                      <a:pt x="1229" y="185"/>
                      <a:pt x="1209" y="198"/>
                      <a:pt x="1183" y="198"/>
                    </a:cubicBezTo>
                    <a:cubicBezTo>
                      <a:pt x="1163" y="198"/>
                      <a:pt x="1146" y="192"/>
                      <a:pt x="1132" y="177"/>
                    </a:cubicBezTo>
                    <a:cubicBezTo>
                      <a:pt x="1118" y="163"/>
                      <a:pt x="1112" y="145"/>
                      <a:pt x="1112" y="124"/>
                    </a:cubicBezTo>
                    <a:cubicBezTo>
                      <a:pt x="1112" y="105"/>
                      <a:pt x="1118" y="87"/>
                      <a:pt x="1132" y="72"/>
                    </a:cubicBezTo>
                    <a:cubicBezTo>
                      <a:pt x="1146" y="58"/>
                      <a:pt x="1163" y="51"/>
                      <a:pt x="1183" y="51"/>
                    </a:cubicBezTo>
                    <a:cubicBezTo>
                      <a:pt x="1209" y="51"/>
                      <a:pt x="1229" y="65"/>
                      <a:pt x="1244" y="86"/>
                    </a:cubicBezTo>
                    <a:cubicBezTo>
                      <a:pt x="1245" y="88"/>
                      <a:pt x="1245" y="88"/>
                      <a:pt x="1245" y="88"/>
                    </a:cubicBezTo>
                    <a:cubicBezTo>
                      <a:pt x="1284" y="57"/>
                      <a:pt x="1284" y="57"/>
                      <a:pt x="1284" y="57"/>
                    </a:cubicBezTo>
                    <a:cubicBezTo>
                      <a:pt x="1283" y="56"/>
                      <a:pt x="1283" y="56"/>
                      <a:pt x="1283" y="56"/>
                    </a:cubicBezTo>
                    <a:cubicBezTo>
                      <a:pt x="1273" y="38"/>
                      <a:pt x="1259" y="25"/>
                      <a:pt x="1242" y="15"/>
                    </a:cubicBezTo>
                    <a:cubicBezTo>
                      <a:pt x="1223" y="4"/>
                      <a:pt x="1203" y="0"/>
                      <a:pt x="1182" y="0"/>
                    </a:cubicBezTo>
                    <a:cubicBezTo>
                      <a:pt x="1148" y="0"/>
                      <a:pt x="1118" y="12"/>
                      <a:pt x="1093" y="36"/>
                    </a:cubicBezTo>
                    <a:cubicBezTo>
                      <a:pt x="1068" y="60"/>
                      <a:pt x="1056" y="90"/>
                      <a:pt x="1056" y="124"/>
                    </a:cubicBezTo>
                    <a:cubicBezTo>
                      <a:pt x="1056" y="159"/>
                      <a:pt x="1068" y="189"/>
                      <a:pt x="1093" y="213"/>
                    </a:cubicBezTo>
                    <a:cubicBezTo>
                      <a:pt x="1118" y="238"/>
                      <a:pt x="1148" y="249"/>
                      <a:pt x="1182" y="249"/>
                    </a:cubicBezTo>
                    <a:cubicBezTo>
                      <a:pt x="1226" y="249"/>
                      <a:pt x="1260" y="231"/>
                      <a:pt x="1283" y="194"/>
                    </a:cubicBezTo>
                    <a:cubicBezTo>
                      <a:pt x="1284" y="192"/>
                      <a:pt x="1284" y="192"/>
                      <a:pt x="1284" y="192"/>
                    </a:cubicBezTo>
                    <a:lnTo>
                      <a:pt x="1245" y="16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25" name="Freeform 6">
                <a:extLst>
                  <a:ext uri="{FF2B5EF4-FFF2-40B4-BE49-F238E27FC236}">
                    <a16:creationId xmlns:a16="http://schemas.microsoft.com/office/drawing/2014/main" id="{09AA459E-49FB-4DB7-9DA3-1A9908A7C32D}"/>
                  </a:ext>
                </a:extLst>
              </p:cNvPr>
              <p:cNvSpPr>
                <a:spLocks noEditPoints="1"/>
              </p:cNvSpPr>
              <p:nvPr userDrawn="1"/>
            </p:nvSpPr>
            <p:spPr bwMode="gray">
              <a:xfrm>
                <a:off x="6693" y="330"/>
                <a:ext cx="213" cy="249"/>
              </a:xfrm>
              <a:custGeom>
                <a:avLst/>
                <a:gdLst>
                  <a:gd name="T0" fmla="*/ 227 w 274"/>
                  <a:gd name="T1" fmla="*/ 44 h 319"/>
                  <a:gd name="T2" fmla="*/ 101 w 274"/>
                  <a:gd name="T3" fmla="*/ 0 h 319"/>
                  <a:gd name="T4" fmla="*/ 0 w 274"/>
                  <a:gd name="T5" fmla="*/ 0 h 319"/>
                  <a:gd name="T6" fmla="*/ 0 w 274"/>
                  <a:gd name="T7" fmla="*/ 138 h 319"/>
                  <a:gd name="T8" fmla="*/ 7 w 274"/>
                  <a:gd name="T9" fmla="*/ 138 h 319"/>
                  <a:gd name="T10" fmla="*/ 7 w 274"/>
                  <a:gd name="T11" fmla="*/ 146 h 319"/>
                  <a:gd name="T12" fmla="*/ 0 w 274"/>
                  <a:gd name="T13" fmla="*/ 146 h 319"/>
                  <a:gd name="T14" fmla="*/ 0 w 274"/>
                  <a:gd name="T15" fmla="*/ 154 h 319"/>
                  <a:gd name="T16" fmla="*/ 8 w 274"/>
                  <a:gd name="T17" fmla="*/ 154 h 319"/>
                  <a:gd name="T18" fmla="*/ 8 w 274"/>
                  <a:gd name="T19" fmla="*/ 162 h 319"/>
                  <a:gd name="T20" fmla="*/ 17 w 274"/>
                  <a:gd name="T21" fmla="*/ 162 h 319"/>
                  <a:gd name="T22" fmla="*/ 17 w 274"/>
                  <a:gd name="T23" fmla="*/ 169 h 319"/>
                  <a:gd name="T24" fmla="*/ 24 w 274"/>
                  <a:gd name="T25" fmla="*/ 169 h 319"/>
                  <a:gd name="T26" fmla="*/ 24 w 274"/>
                  <a:gd name="T27" fmla="*/ 163 h 319"/>
                  <a:gd name="T28" fmla="*/ 33 w 274"/>
                  <a:gd name="T29" fmla="*/ 163 h 319"/>
                  <a:gd name="T30" fmla="*/ 33 w 274"/>
                  <a:gd name="T31" fmla="*/ 177 h 319"/>
                  <a:gd name="T32" fmla="*/ 41 w 274"/>
                  <a:gd name="T33" fmla="*/ 177 h 319"/>
                  <a:gd name="T34" fmla="*/ 41 w 274"/>
                  <a:gd name="T35" fmla="*/ 169 h 319"/>
                  <a:gd name="T36" fmla="*/ 52 w 274"/>
                  <a:gd name="T37" fmla="*/ 169 h 319"/>
                  <a:gd name="T38" fmla="*/ 52 w 274"/>
                  <a:gd name="T39" fmla="*/ 162 h 319"/>
                  <a:gd name="T40" fmla="*/ 58 w 274"/>
                  <a:gd name="T41" fmla="*/ 162 h 319"/>
                  <a:gd name="T42" fmla="*/ 58 w 274"/>
                  <a:gd name="T43" fmla="*/ 126 h 319"/>
                  <a:gd name="T44" fmla="*/ 52 w 274"/>
                  <a:gd name="T45" fmla="*/ 126 h 319"/>
                  <a:gd name="T46" fmla="*/ 52 w 274"/>
                  <a:gd name="T47" fmla="*/ 118 h 319"/>
                  <a:gd name="T48" fmla="*/ 58 w 274"/>
                  <a:gd name="T49" fmla="*/ 118 h 319"/>
                  <a:gd name="T50" fmla="*/ 58 w 274"/>
                  <a:gd name="T51" fmla="*/ 108 h 319"/>
                  <a:gd name="T52" fmla="*/ 54 w 274"/>
                  <a:gd name="T53" fmla="*/ 108 h 319"/>
                  <a:gd name="T54" fmla="*/ 54 w 274"/>
                  <a:gd name="T55" fmla="*/ 98 h 319"/>
                  <a:gd name="T56" fmla="*/ 58 w 274"/>
                  <a:gd name="T57" fmla="*/ 98 h 319"/>
                  <a:gd name="T58" fmla="*/ 58 w 274"/>
                  <a:gd name="T59" fmla="*/ 51 h 319"/>
                  <a:gd name="T60" fmla="*/ 100 w 274"/>
                  <a:gd name="T61" fmla="*/ 51 h 319"/>
                  <a:gd name="T62" fmla="*/ 186 w 274"/>
                  <a:gd name="T63" fmla="*/ 80 h 319"/>
                  <a:gd name="T64" fmla="*/ 217 w 274"/>
                  <a:gd name="T65" fmla="*/ 159 h 319"/>
                  <a:gd name="T66" fmla="*/ 186 w 274"/>
                  <a:gd name="T67" fmla="*/ 238 h 319"/>
                  <a:gd name="T68" fmla="*/ 100 w 274"/>
                  <a:gd name="T69" fmla="*/ 269 h 319"/>
                  <a:gd name="T70" fmla="*/ 0 w 274"/>
                  <a:gd name="T71" fmla="*/ 270 h 319"/>
                  <a:gd name="T72" fmla="*/ 0 w 274"/>
                  <a:gd name="T73" fmla="*/ 319 h 319"/>
                  <a:gd name="T74" fmla="*/ 101 w 274"/>
                  <a:gd name="T75" fmla="*/ 319 h 319"/>
                  <a:gd name="T76" fmla="*/ 226 w 274"/>
                  <a:gd name="T77" fmla="*/ 274 h 319"/>
                  <a:gd name="T78" fmla="*/ 274 w 274"/>
                  <a:gd name="T79" fmla="*/ 159 h 319"/>
                  <a:gd name="T80" fmla="*/ 227 w 274"/>
                  <a:gd name="T81" fmla="*/ 44 h 319"/>
                  <a:gd name="T82" fmla="*/ 39 w 274"/>
                  <a:gd name="T83" fmla="*/ 140 h 319"/>
                  <a:gd name="T84" fmla="*/ 31 w 274"/>
                  <a:gd name="T85" fmla="*/ 140 h 319"/>
                  <a:gd name="T86" fmla="*/ 31 w 274"/>
                  <a:gd name="T87" fmla="*/ 148 h 319"/>
                  <a:gd name="T88" fmla="*/ 23 w 274"/>
                  <a:gd name="T89" fmla="*/ 148 h 319"/>
                  <a:gd name="T90" fmla="*/ 23 w 274"/>
                  <a:gd name="T91" fmla="*/ 140 h 319"/>
                  <a:gd name="T92" fmla="*/ 31 w 274"/>
                  <a:gd name="T93" fmla="*/ 140 h 319"/>
                  <a:gd name="T94" fmla="*/ 31 w 274"/>
                  <a:gd name="T95" fmla="*/ 132 h 319"/>
                  <a:gd name="T96" fmla="*/ 23 w 274"/>
                  <a:gd name="T97" fmla="*/ 132 h 319"/>
                  <a:gd name="T98" fmla="*/ 23 w 274"/>
                  <a:gd name="T99" fmla="*/ 124 h 319"/>
                  <a:gd name="T100" fmla="*/ 31 w 274"/>
                  <a:gd name="T101" fmla="*/ 124 h 319"/>
                  <a:gd name="T102" fmla="*/ 31 w 274"/>
                  <a:gd name="T103" fmla="*/ 132 h 319"/>
                  <a:gd name="T104" fmla="*/ 39 w 274"/>
                  <a:gd name="T105" fmla="*/ 132 h 319"/>
                  <a:gd name="T106" fmla="*/ 39 w 274"/>
                  <a:gd name="T107" fmla="*/ 140 h 3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274" h="319">
                    <a:moveTo>
                      <a:pt x="227" y="44"/>
                    </a:moveTo>
                    <a:cubicBezTo>
                      <a:pt x="192" y="11"/>
                      <a:pt x="147" y="0"/>
                      <a:pt x="101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46"/>
                      <a:pt x="0" y="91"/>
                      <a:pt x="0" y="138"/>
                    </a:cubicBezTo>
                    <a:cubicBezTo>
                      <a:pt x="7" y="138"/>
                      <a:pt x="7" y="138"/>
                      <a:pt x="7" y="138"/>
                    </a:cubicBezTo>
                    <a:cubicBezTo>
                      <a:pt x="7" y="146"/>
                      <a:pt x="7" y="146"/>
                      <a:pt x="7" y="146"/>
                    </a:cubicBezTo>
                    <a:cubicBezTo>
                      <a:pt x="0" y="146"/>
                      <a:pt x="0" y="146"/>
                      <a:pt x="0" y="146"/>
                    </a:cubicBezTo>
                    <a:cubicBezTo>
                      <a:pt x="0" y="154"/>
                      <a:pt x="0" y="154"/>
                      <a:pt x="0" y="154"/>
                    </a:cubicBezTo>
                    <a:cubicBezTo>
                      <a:pt x="8" y="154"/>
                      <a:pt x="8" y="154"/>
                      <a:pt x="8" y="154"/>
                    </a:cubicBezTo>
                    <a:cubicBezTo>
                      <a:pt x="8" y="162"/>
                      <a:pt x="8" y="162"/>
                      <a:pt x="8" y="162"/>
                    </a:cubicBezTo>
                    <a:cubicBezTo>
                      <a:pt x="17" y="162"/>
                      <a:pt x="17" y="162"/>
                      <a:pt x="17" y="162"/>
                    </a:cubicBezTo>
                    <a:cubicBezTo>
                      <a:pt x="17" y="169"/>
                      <a:pt x="17" y="169"/>
                      <a:pt x="17" y="169"/>
                    </a:cubicBezTo>
                    <a:cubicBezTo>
                      <a:pt x="24" y="169"/>
                      <a:pt x="24" y="169"/>
                      <a:pt x="24" y="169"/>
                    </a:cubicBezTo>
                    <a:cubicBezTo>
                      <a:pt x="24" y="163"/>
                      <a:pt x="24" y="163"/>
                      <a:pt x="24" y="163"/>
                    </a:cubicBezTo>
                    <a:cubicBezTo>
                      <a:pt x="33" y="163"/>
                      <a:pt x="33" y="163"/>
                      <a:pt x="33" y="163"/>
                    </a:cubicBezTo>
                    <a:cubicBezTo>
                      <a:pt x="33" y="177"/>
                      <a:pt x="33" y="177"/>
                      <a:pt x="33" y="177"/>
                    </a:cubicBezTo>
                    <a:cubicBezTo>
                      <a:pt x="41" y="177"/>
                      <a:pt x="41" y="177"/>
                      <a:pt x="41" y="177"/>
                    </a:cubicBezTo>
                    <a:cubicBezTo>
                      <a:pt x="41" y="169"/>
                      <a:pt x="41" y="169"/>
                      <a:pt x="41" y="169"/>
                    </a:cubicBezTo>
                    <a:cubicBezTo>
                      <a:pt x="52" y="169"/>
                      <a:pt x="52" y="169"/>
                      <a:pt x="52" y="169"/>
                    </a:cubicBezTo>
                    <a:cubicBezTo>
                      <a:pt x="52" y="162"/>
                      <a:pt x="52" y="162"/>
                      <a:pt x="52" y="162"/>
                    </a:cubicBezTo>
                    <a:cubicBezTo>
                      <a:pt x="58" y="162"/>
                      <a:pt x="58" y="162"/>
                      <a:pt x="58" y="162"/>
                    </a:cubicBezTo>
                    <a:cubicBezTo>
                      <a:pt x="58" y="126"/>
                      <a:pt x="58" y="126"/>
                      <a:pt x="58" y="126"/>
                    </a:cubicBezTo>
                    <a:cubicBezTo>
                      <a:pt x="52" y="126"/>
                      <a:pt x="52" y="126"/>
                      <a:pt x="52" y="126"/>
                    </a:cubicBezTo>
                    <a:cubicBezTo>
                      <a:pt x="52" y="118"/>
                      <a:pt x="52" y="118"/>
                      <a:pt x="52" y="118"/>
                    </a:cubicBezTo>
                    <a:cubicBezTo>
                      <a:pt x="58" y="118"/>
                      <a:pt x="58" y="118"/>
                      <a:pt x="58" y="118"/>
                    </a:cubicBezTo>
                    <a:cubicBezTo>
                      <a:pt x="58" y="108"/>
                      <a:pt x="58" y="108"/>
                      <a:pt x="58" y="108"/>
                    </a:cubicBezTo>
                    <a:cubicBezTo>
                      <a:pt x="54" y="108"/>
                      <a:pt x="54" y="108"/>
                      <a:pt x="54" y="108"/>
                    </a:cubicBezTo>
                    <a:cubicBezTo>
                      <a:pt x="54" y="98"/>
                      <a:pt x="54" y="98"/>
                      <a:pt x="54" y="98"/>
                    </a:cubicBezTo>
                    <a:cubicBezTo>
                      <a:pt x="58" y="98"/>
                      <a:pt x="58" y="98"/>
                      <a:pt x="58" y="98"/>
                    </a:cubicBezTo>
                    <a:cubicBezTo>
                      <a:pt x="58" y="51"/>
                      <a:pt x="58" y="51"/>
                      <a:pt x="58" y="51"/>
                    </a:cubicBezTo>
                    <a:cubicBezTo>
                      <a:pt x="72" y="51"/>
                      <a:pt x="86" y="51"/>
                      <a:pt x="100" y="51"/>
                    </a:cubicBezTo>
                    <a:cubicBezTo>
                      <a:pt x="132" y="51"/>
                      <a:pt x="162" y="58"/>
                      <a:pt x="186" y="80"/>
                    </a:cubicBezTo>
                    <a:cubicBezTo>
                      <a:pt x="208" y="101"/>
                      <a:pt x="217" y="129"/>
                      <a:pt x="217" y="159"/>
                    </a:cubicBezTo>
                    <a:cubicBezTo>
                      <a:pt x="217" y="190"/>
                      <a:pt x="208" y="217"/>
                      <a:pt x="186" y="238"/>
                    </a:cubicBezTo>
                    <a:cubicBezTo>
                      <a:pt x="162" y="261"/>
                      <a:pt x="132" y="269"/>
                      <a:pt x="100" y="269"/>
                    </a:cubicBezTo>
                    <a:cubicBezTo>
                      <a:pt x="67" y="269"/>
                      <a:pt x="34" y="269"/>
                      <a:pt x="0" y="270"/>
                    </a:cubicBezTo>
                    <a:cubicBezTo>
                      <a:pt x="0" y="319"/>
                      <a:pt x="0" y="319"/>
                      <a:pt x="0" y="319"/>
                    </a:cubicBezTo>
                    <a:cubicBezTo>
                      <a:pt x="101" y="319"/>
                      <a:pt x="101" y="319"/>
                      <a:pt x="101" y="319"/>
                    </a:cubicBezTo>
                    <a:cubicBezTo>
                      <a:pt x="148" y="319"/>
                      <a:pt x="192" y="307"/>
                      <a:pt x="226" y="274"/>
                    </a:cubicBezTo>
                    <a:cubicBezTo>
                      <a:pt x="259" y="243"/>
                      <a:pt x="274" y="204"/>
                      <a:pt x="274" y="159"/>
                    </a:cubicBezTo>
                    <a:cubicBezTo>
                      <a:pt x="274" y="114"/>
                      <a:pt x="260" y="75"/>
                      <a:pt x="227" y="44"/>
                    </a:cubicBezTo>
                    <a:close/>
                    <a:moveTo>
                      <a:pt x="39" y="140"/>
                    </a:moveTo>
                    <a:cubicBezTo>
                      <a:pt x="31" y="140"/>
                      <a:pt x="31" y="140"/>
                      <a:pt x="31" y="140"/>
                    </a:cubicBezTo>
                    <a:cubicBezTo>
                      <a:pt x="31" y="148"/>
                      <a:pt x="31" y="148"/>
                      <a:pt x="31" y="148"/>
                    </a:cubicBezTo>
                    <a:cubicBezTo>
                      <a:pt x="23" y="148"/>
                      <a:pt x="23" y="148"/>
                      <a:pt x="23" y="148"/>
                    </a:cubicBezTo>
                    <a:cubicBezTo>
                      <a:pt x="23" y="140"/>
                      <a:pt x="23" y="140"/>
                      <a:pt x="23" y="140"/>
                    </a:cubicBezTo>
                    <a:cubicBezTo>
                      <a:pt x="31" y="140"/>
                      <a:pt x="31" y="140"/>
                      <a:pt x="31" y="140"/>
                    </a:cubicBezTo>
                    <a:cubicBezTo>
                      <a:pt x="31" y="132"/>
                      <a:pt x="31" y="132"/>
                      <a:pt x="31" y="132"/>
                    </a:cubicBezTo>
                    <a:cubicBezTo>
                      <a:pt x="23" y="132"/>
                      <a:pt x="23" y="132"/>
                      <a:pt x="23" y="132"/>
                    </a:cubicBezTo>
                    <a:cubicBezTo>
                      <a:pt x="23" y="124"/>
                      <a:pt x="23" y="124"/>
                      <a:pt x="23" y="124"/>
                    </a:cubicBezTo>
                    <a:cubicBezTo>
                      <a:pt x="31" y="124"/>
                      <a:pt x="31" y="124"/>
                      <a:pt x="31" y="124"/>
                    </a:cubicBezTo>
                    <a:cubicBezTo>
                      <a:pt x="31" y="132"/>
                      <a:pt x="31" y="132"/>
                      <a:pt x="31" y="132"/>
                    </a:cubicBezTo>
                    <a:cubicBezTo>
                      <a:pt x="39" y="132"/>
                      <a:pt x="39" y="132"/>
                      <a:pt x="39" y="132"/>
                    </a:cubicBezTo>
                    <a:lnTo>
                      <a:pt x="39" y="14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26" name="Freeform 7">
                <a:extLst>
                  <a:ext uri="{FF2B5EF4-FFF2-40B4-BE49-F238E27FC236}">
                    <a16:creationId xmlns:a16="http://schemas.microsoft.com/office/drawing/2014/main" id="{C5A83D5D-8795-4779-A0A0-047052CDE78C}"/>
                  </a:ext>
                </a:extLst>
              </p:cNvPr>
              <p:cNvSpPr>
                <a:spLocks noEditPoints="1"/>
              </p:cNvSpPr>
              <p:nvPr userDrawn="1"/>
            </p:nvSpPr>
            <p:spPr bwMode="gray">
              <a:xfrm>
                <a:off x="6337" y="633"/>
                <a:ext cx="1001" cy="71"/>
              </a:xfrm>
              <a:custGeom>
                <a:avLst/>
                <a:gdLst>
                  <a:gd name="T0" fmla="*/ 1246 w 1289"/>
                  <a:gd name="T1" fmla="*/ 35 h 91"/>
                  <a:gd name="T2" fmla="*/ 1246 w 1289"/>
                  <a:gd name="T3" fmla="*/ 57 h 91"/>
                  <a:gd name="T4" fmla="*/ 1289 w 1289"/>
                  <a:gd name="T5" fmla="*/ 90 h 91"/>
                  <a:gd name="T6" fmla="*/ 1189 w 1289"/>
                  <a:gd name="T7" fmla="*/ 83 h 91"/>
                  <a:gd name="T8" fmla="*/ 1168 w 1289"/>
                  <a:gd name="T9" fmla="*/ 34 h 91"/>
                  <a:gd name="T10" fmla="*/ 1218 w 1289"/>
                  <a:gd name="T11" fmla="*/ 58 h 91"/>
                  <a:gd name="T12" fmla="*/ 1141 w 1289"/>
                  <a:gd name="T13" fmla="*/ 5 h 91"/>
                  <a:gd name="T14" fmla="*/ 1132 w 1289"/>
                  <a:gd name="T15" fmla="*/ 27 h 91"/>
                  <a:gd name="T16" fmla="*/ 1099 w 1289"/>
                  <a:gd name="T17" fmla="*/ 34 h 91"/>
                  <a:gd name="T18" fmla="*/ 1089 w 1289"/>
                  <a:gd name="T19" fmla="*/ 26 h 91"/>
                  <a:gd name="T20" fmla="*/ 1113 w 1289"/>
                  <a:gd name="T21" fmla="*/ 91 h 91"/>
                  <a:gd name="T22" fmla="*/ 1013 w 1289"/>
                  <a:gd name="T23" fmla="*/ 27 h 91"/>
                  <a:gd name="T24" fmla="*/ 1057 w 1289"/>
                  <a:gd name="T25" fmla="*/ 81 h 91"/>
                  <a:gd name="T26" fmla="*/ 1052 w 1289"/>
                  <a:gd name="T27" fmla="*/ 78 h 91"/>
                  <a:gd name="T28" fmla="*/ 992 w 1289"/>
                  <a:gd name="T29" fmla="*/ 0 h 91"/>
                  <a:gd name="T30" fmla="*/ 935 w 1289"/>
                  <a:gd name="T31" fmla="*/ 34 h 91"/>
                  <a:gd name="T32" fmla="*/ 916 w 1289"/>
                  <a:gd name="T33" fmla="*/ 58 h 91"/>
                  <a:gd name="T34" fmla="*/ 909 w 1289"/>
                  <a:gd name="T35" fmla="*/ 76 h 91"/>
                  <a:gd name="T36" fmla="*/ 874 w 1289"/>
                  <a:gd name="T37" fmla="*/ 90 h 91"/>
                  <a:gd name="T38" fmla="*/ 862 w 1289"/>
                  <a:gd name="T39" fmla="*/ 64 h 91"/>
                  <a:gd name="T40" fmla="*/ 792 w 1289"/>
                  <a:gd name="T41" fmla="*/ 81 h 91"/>
                  <a:gd name="T42" fmla="*/ 830 w 1289"/>
                  <a:gd name="T43" fmla="*/ 14 h 91"/>
                  <a:gd name="T44" fmla="*/ 727 w 1289"/>
                  <a:gd name="T45" fmla="*/ 90 h 91"/>
                  <a:gd name="T46" fmla="*/ 684 w 1289"/>
                  <a:gd name="T47" fmla="*/ 36 h 91"/>
                  <a:gd name="T48" fmla="*/ 684 w 1289"/>
                  <a:gd name="T49" fmla="*/ 57 h 91"/>
                  <a:gd name="T50" fmla="*/ 727 w 1289"/>
                  <a:gd name="T51" fmla="*/ 90 h 91"/>
                  <a:gd name="T52" fmla="*/ 641 w 1289"/>
                  <a:gd name="T53" fmla="*/ 27 h 91"/>
                  <a:gd name="T54" fmla="*/ 632 w 1289"/>
                  <a:gd name="T55" fmla="*/ 34 h 91"/>
                  <a:gd name="T56" fmla="*/ 656 w 1289"/>
                  <a:gd name="T57" fmla="*/ 83 h 91"/>
                  <a:gd name="T58" fmla="*/ 609 w 1289"/>
                  <a:gd name="T59" fmla="*/ 90 h 91"/>
                  <a:gd name="T60" fmla="*/ 568 w 1289"/>
                  <a:gd name="T61" fmla="*/ 59 h 91"/>
                  <a:gd name="T62" fmla="*/ 578 w 1289"/>
                  <a:gd name="T63" fmla="*/ 47 h 91"/>
                  <a:gd name="T64" fmla="*/ 555 w 1289"/>
                  <a:gd name="T65" fmla="*/ 34 h 91"/>
                  <a:gd name="T66" fmla="*/ 533 w 1289"/>
                  <a:gd name="T67" fmla="*/ 86 h 91"/>
                  <a:gd name="T68" fmla="*/ 578 w 1289"/>
                  <a:gd name="T69" fmla="*/ 90 h 91"/>
                  <a:gd name="T70" fmla="*/ 500 w 1289"/>
                  <a:gd name="T71" fmla="*/ 38 h 91"/>
                  <a:gd name="T72" fmla="*/ 471 w 1289"/>
                  <a:gd name="T73" fmla="*/ 60 h 91"/>
                  <a:gd name="T74" fmla="*/ 461 w 1289"/>
                  <a:gd name="T75" fmla="*/ 59 h 91"/>
                  <a:gd name="T76" fmla="*/ 431 w 1289"/>
                  <a:gd name="T77" fmla="*/ 42 h 91"/>
                  <a:gd name="T78" fmla="*/ 387 w 1289"/>
                  <a:gd name="T79" fmla="*/ 50 h 91"/>
                  <a:gd name="T80" fmla="*/ 310 w 1289"/>
                  <a:gd name="T81" fmla="*/ 71 h 91"/>
                  <a:gd name="T82" fmla="*/ 304 w 1289"/>
                  <a:gd name="T83" fmla="*/ 12 h 91"/>
                  <a:gd name="T84" fmla="*/ 318 w 1289"/>
                  <a:gd name="T85" fmla="*/ 91 h 91"/>
                  <a:gd name="T86" fmla="*/ 312 w 1289"/>
                  <a:gd name="T87" fmla="*/ 80 h 91"/>
                  <a:gd name="T88" fmla="*/ 249 w 1289"/>
                  <a:gd name="T89" fmla="*/ 90 h 91"/>
                  <a:gd name="T90" fmla="*/ 286 w 1289"/>
                  <a:gd name="T91" fmla="*/ 26 h 91"/>
                  <a:gd name="T92" fmla="*/ 209 w 1289"/>
                  <a:gd name="T93" fmla="*/ 59 h 91"/>
                  <a:gd name="T94" fmla="*/ 228 w 1289"/>
                  <a:gd name="T95" fmla="*/ 90 h 91"/>
                  <a:gd name="T96" fmla="*/ 187 w 1289"/>
                  <a:gd name="T97" fmla="*/ 38 h 91"/>
                  <a:gd name="T98" fmla="*/ 177 w 1289"/>
                  <a:gd name="T99" fmla="*/ 72 h 91"/>
                  <a:gd name="T100" fmla="*/ 221 w 1289"/>
                  <a:gd name="T101" fmla="*/ 90 h 91"/>
                  <a:gd name="T102" fmla="*/ 127 w 1289"/>
                  <a:gd name="T103" fmla="*/ 29 h 91"/>
                  <a:gd name="T104" fmla="*/ 80 w 1289"/>
                  <a:gd name="T105" fmla="*/ 35 h 91"/>
                  <a:gd name="T106" fmla="*/ 84 w 1289"/>
                  <a:gd name="T107" fmla="*/ 39 h 91"/>
                  <a:gd name="T108" fmla="*/ 120 w 1289"/>
                  <a:gd name="T109" fmla="*/ 55 h 91"/>
                  <a:gd name="T110" fmla="*/ 161 w 1289"/>
                  <a:gd name="T111" fmla="*/ 90 h 91"/>
                  <a:gd name="T112" fmla="*/ 15 w 1289"/>
                  <a:gd name="T113" fmla="*/ 17 h 91"/>
                  <a:gd name="T114" fmla="*/ 1 w 1289"/>
                  <a:gd name="T115" fmla="*/ 26 h 91"/>
                  <a:gd name="T116" fmla="*/ 38 w 1289"/>
                  <a:gd name="T117" fmla="*/ 79 h 91"/>
                  <a:gd name="T118" fmla="*/ 45 w 1289"/>
                  <a:gd name="T119" fmla="*/ 85 h 9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1289" h="91">
                    <a:moveTo>
                      <a:pt x="1289" y="90"/>
                    </a:moveTo>
                    <a:cubicBezTo>
                      <a:pt x="1289" y="49"/>
                      <a:pt x="1289" y="49"/>
                      <a:pt x="1289" y="49"/>
                    </a:cubicBezTo>
                    <a:cubicBezTo>
                      <a:pt x="1289" y="41"/>
                      <a:pt x="1287" y="35"/>
                      <a:pt x="1283" y="31"/>
                    </a:cubicBezTo>
                    <a:cubicBezTo>
                      <a:pt x="1280" y="27"/>
                      <a:pt x="1274" y="26"/>
                      <a:pt x="1266" y="26"/>
                    </a:cubicBezTo>
                    <a:cubicBezTo>
                      <a:pt x="1262" y="26"/>
                      <a:pt x="1258" y="27"/>
                      <a:pt x="1254" y="28"/>
                    </a:cubicBezTo>
                    <a:cubicBezTo>
                      <a:pt x="1251" y="30"/>
                      <a:pt x="1248" y="32"/>
                      <a:pt x="1246" y="35"/>
                    </a:cubicBezTo>
                    <a:cubicBezTo>
                      <a:pt x="1246" y="35"/>
                      <a:pt x="1246" y="35"/>
                      <a:pt x="1246" y="35"/>
                    </a:cubicBezTo>
                    <a:cubicBezTo>
                      <a:pt x="1244" y="27"/>
                      <a:pt x="1244" y="27"/>
                      <a:pt x="1244" y="27"/>
                    </a:cubicBezTo>
                    <a:cubicBezTo>
                      <a:pt x="1236" y="27"/>
                      <a:pt x="1236" y="27"/>
                      <a:pt x="1236" y="27"/>
                    </a:cubicBezTo>
                    <a:cubicBezTo>
                      <a:pt x="1236" y="90"/>
                      <a:pt x="1236" y="90"/>
                      <a:pt x="1236" y="90"/>
                    </a:cubicBezTo>
                    <a:cubicBezTo>
                      <a:pt x="1246" y="90"/>
                      <a:pt x="1246" y="90"/>
                      <a:pt x="1246" y="90"/>
                    </a:cubicBezTo>
                    <a:cubicBezTo>
                      <a:pt x="1246" y="57"/>
                      <a:pt x="1246" y="57"/>
                      <a:pt x="1246" y="57"/>
                    </a:cubicBezTo>
                    <a:cubicBezTo>
                      <a:pt x="1246" y="49"/>
                      <a:pt x="1247" y="43"/>
                      <a:pt x="1251" y="39"/>
                    </a:cubicBezTo>
                    <a:cubicBezTo>
                      <a:pt x="1254" y="36"/>
                      <a:pt x="1258" y="34"/>
                      <a:pt x="1265" y="34"/>
                    </a:cubicBezTo>
                    <a:cubicBezTo>
                      <a:pt x="1270" y="34"/>
                      <a:pt x="1274" y="35"/>
                      <a:pt x="1276" y="38"/>
                    </a:cubicBezTo>
                    <a:cubicBezTo>
                      <a:pt x="1278" y="40"/>
                      <a:pt x="1280" y="44"/>
                      <a:pt x="1280" y="49"/>
                    </a:cubicBezTo>
                    <a:cubicBezTo>
                      <a:pt x="1280" y="90"/>
                      <a:pt x="1280" y="90"/>
                      <a:pt x="1280" y="90"/>
                    </a:cubicBezTo>
                    <a:lnTo>
                      <a:pt x="1289" y="90"/>
                    </a:lnTo>
                    <a:close/>
                    <a:moveTo>
                      <a:pt x="1174" y="40"/>
                    </a:moveTo>
                    <a:cubicBezTo>
                      <a:pt x="1178" y="36"/>
                      <a:pt x="1182" y="34"/>
                      <a:pt x="1189" y="34"/>
                    </a:cubicBezTo>
                    <a:cubicBezTo>
                      <a:pt x="1195" y="34"/>
                      <a:pt x="1200" y="36"/>
                      <a:pt x="1203" y="40"/>
                    </a:cubicBezTo>
                    <a:cubicBezTo>
                      <a:pt x="1206" y="44"/>
                      <a:pt x="1208" y="50"/>
                      <a:pt x="1208" y="58"/>
                    </a:cubicBezTo>
                    <a:cubicBezTo>
                      <a:pt x="1208" y="66"/>
                      <a:pt x="1206" y="73"/>
                      <a:pt x="1203" y="77"/>
                    </a:cubicBezTo>
                    <a:cubicBezTo>
                      <a:pt x="1200" y="81"/>
                      <a:pt x="1195" y="83"/>
                      <a:pt x="1189" y="83"/>
                    </a:cubicBezTo>
                    <a:cubicBezTo>
                      <a:pt x="1183" y="83"/>
                      <a:pt x="1178" y="81"/>
                      <a:pt x="1175" y="77"/>
                    </a:cubicBezTo>
                    <a:cubicBezTo>
                      <a:pt x="1171" y="73"/>
                      <a:pt x="1170" y="66"/>
                      <a:pt x="1170" y="58"/>
                    </a:cubicBezTo>
                    <a:cubicBezTo>
                      <a:pt x="1170" y="50"/>
                      <a:pt x="1171" y="44"/>
                      <a:pt x="1174" y="40"/>
                    </a:cubicBezTo>
                    <a:close/>
                    <a:moveTo>
                      <a:pt x="1210" y="34"/>
                    </a:moveTo>
                    <a:cubicBezTo>
                      <a:pt x="1205" y="29"/>
                      <a:pt x="1198" y="26"/>
                      <a:pt x="1189" y="26"/>
                    </a:cubicBezTo>
                    <a:cubicBezTo>
                      <a:pt x="1180" y="26"/>
                      <a:pt x="1173" y="29"/>
                      <a:pt x="1168" y="34"/>
                    </a:cubicBezTo>
                    <a:cubicBezTo>
                      <a:pt x="1162" y="40"/>
                      <a:pt x="1160" y="48"/>
                      <a:pt x="1160" y="58"/>
                    </a:cubicBezTo>
                    <a:cubicBezTo>
                      <a:pt x="1160" y="65"/>
                      <a:pt x="1161" y="71"/>
                      <a:pt x="1163" y="76"/>
                    </a:cubicBezTo>
                    <a:cubicBezTo>
                      <a:pt x="1166" y="81"/>
                      <a:pt x="1169" y="84"/>
                      <a:pt x="1174" y="87"/>
                    </a:cubicBezTo>
                    <a:cubicBezTo>
                      <a:pt x="1178" y="90"/>
                      <a:pt x="1183" y="91"/>
                      <a:pt x="1189" y="91"/>
                    </a:cubicBezTo>
                    <a:cubicBezTo>
                      <a:pt x="1198" y="91"/>
                      <a:pt x="1205" y="88"/>
                      <a:pt x="1210" y="82"/>
                    </a:cubicBezTo>
                    <a:cubicBezTo>
                      <a:pt x="1215" y="77"/>
                      <a:pt x="1218" y="69"/>
                      <a:pt x="1218" y="58"/>
                    </a:cubicBezTo>
                    <a:cubicBezTo>
                      <a:pt x="1218" y="48"/>
                      <a:pt x="1215" y="40"/>
                      <a:pt x="1210" y="34"/>
                    </a:cubicBezTo>
                    <a:close/>
                    <a:moveTo>
                      <a:pt x="1133" y="14"/>
                    </a:moveTo>
                    <a:cubicBezTo>
                      <a:pt x="1134" y="16"/>
                      <a:pt x="1135" y="16"/>
                      <a:pt x="1137" y="16"/>
                    </a:cubicBezTo>
                    <a:cubicBezTo>
                      <a:pt x="1138" y="16"/>
                      <a:pt x="1139" y="16"/>
                      <a:pt x="1141" y="14"/>
                    </a:cubicBezTo>
                    <a:cubicBezTo>
                      <a:pt x="1142" y="13"/>
                      <a:pt x="1142" y="12"/>
                      <a:pt x="1142" y="10"/>
                    </a:cubicBezTo>
                    <a:cubicBezTo>
                      <a:pt x="1142" y="8"/>
                      <a:pt x="1142" y="6"/>
                      <a:pt x="1141" y="5"/>
                    </a:cubicBezTo>
                    <a:cubicBezTo>
                      <a:pt x="1139" y="4"/>
                      <a:pt x="1138" y="3"/>
                      <a:pt x="1137" y="3"/>
                    </a:cubicBezTo>
                    <a:cubicBezTo>
                      <a:pt x="1135" y="3"/>
                      <a:pt x="1134" y="4"/>
                      <a:pt x="1133" y="5"/>
                    </a:cubicBezTo>
                    <a:cubicBezTo>
                      <a:pt x="1131" y="6"/>
                      <a:pt x="1131" y="7"/>
                      <a:pt x="1131" y="10"/>
                    </a:cubicBezTo>
                    <a:cubicBezTo>
                      <a:pt x="1131" y="12"/>
                      <a:pt x="1131" y="13"/>
                      <a:pt x="1133" y="14"/>
                    </a:cubicBezTo>
                    <a:close/>
                    <a:moveTo>
                      <a:pt x="1141" y="27"/>
                    </a:moveTo>
                    <a:cubicBezTo>
                      <a:pt x="1132" y="27"/>
                      <a:pt x="1132" y="27"/>
                      <a:pt x="1132" y="27"/>
                    </a:cubicBezTo>
                    <a:cubicBezTo>
                      <a:pt x="1132" y="90"/>
                      <a:pt x="1132" y="90"/>
                      <a:pt x="1132" y="90"/>
                    </a:cubicBezTo>
                    <a:cubicBezTo>
                      <a:pt x="1141" y="90"/>
                      <a:pt x="1141" y="90"/>
                      <a:pt x="1141" y="90"/>
                    </a:cubicBezTo>
                    <a:lnTo>
                      <a:pt x="1141" y="27"/>
                    </a:lnTo>
                    <a:close/>
                    <a:moveTo>
                      <a:pt x="1101" y="80"/>
                    </a:moveTo>
                    <a:cubicBezTo>
                      <a:pt x="1099" y="78"/>
                      <a:pt x="1099" y="75"/>
                      <a:pt x="1099" y="71"/>
                    </a:cubicBezTo>
                    <a:cubicBezTo>
                      <a:pt x="1099" y="34"/>
                      <a:pt x="1099" y="34"/>
                      <a:pt x="1099" y="34"/>
                    </a:cubicBezTo>
                    <a:cubicBezTo>
                      <a:pt x="1117" y="34"/>
                      <a:pt x="1117" y="34"/>
                      <a:pt x="1117" y="34"/>
                    </a:cubicBezTo>
                    <a:cubicBezTo>
                      <a:pt x="1117" y="27"/>
                      <a:pt x="1117" y="27"/>
                      <a:pt x="1117" y="27"/>
                    </a:cubicBezTo>
                    <a:cubicBezTo>
                      <a:pt x="1099" y="27"/>
                      <a:pt x="1099" y="27"/>
                      <a:pt x="1099" y="27"/>
                    </a:cubicBezTo>
                    <a:cubicBezTo>
                      <a:pt x="1099" y="12"/>
                      <a:pt x="1099" y="12"/>
                      <a:pt x="1099" y="12"/>
                    </a:cubicBezTo>
                    <a:cubicBezTo>
                      <a:pt x="1093" y="12"/>
                      <a:pt x="1093" y="12"/>
                      <a:pt x="1093" y="12"/>
                    </a:cubicBezTo>
                    <a:cubicBezTo>
                      <a:pt x="1089" y="26"/>
                      <a:pt x="1089" y="26"/>
                      <a:pt x="1089" y="26"/>
                    </a:cubicBezTo>
                    <a:cubicBezTo>
                      <a:pt x="1080" y="30"/>
                      <a:pt x="1080" y="30"/>
                      <a:pt x="1080" y="30"/>
                    </a:cubicBezTo>
                    <a:cubicBezTo>
                      <a:pt x="1080" y="34"/>
                      <a:pt x="1080" y="34"/>
                      <a:pt x="1080" y="34"/>
                    </a:cubicBezTo>
                    <a:cubicBezTo>
                      <a:pt x="1089" y="34"/>
                      <a:pt x="1089" y="34"/>
                      <a:pt x="1089" y="34"/>
                    </a:cubicBezTo>
                    <a:cubicBezTo>
                      <a:pt x="1089" y="72"/>
                      <a:pt x="1089" y="72"/>
                      <a:pt x="1089" y="72"/>
                    </a:cubicBezTo>
                    <a:cubicBezTo>
                      <a:pt x="1089" y="85"/>
                      <a:pt x="1095" y="91"/>
                      <a:pt x="1107" y="91"/>
                    </a:cubicBezTo>
                    <a:cubicBezTo>
                      <a:pt x="1109" y="91"/>
                      <a:pt x="1111" y="91"/>
                      <a:pt x="1113" y="91"/>
                    </a:cubicBezTo>
                    <a:cubicBezTo>
                      <a:pt x="1115" y="90"/>
                      <a:pt x="1116" y="90"/>
                      <a:pt x="1117" y="89"/>
                    </a:cubicBezTo>
                    <a:cubicBezTo>
                      <a:pt x="1117" y="82"/>
                      <a:pt x="1117" y="82"/>
                      <a:pt x="1117" y="82"/>
                    </a:cubicBezTo>
                    <a:cubicBezTo>
                      <a:pt x="1116" y="82"/>
                      <a:pt x="1115" y="83"/>
                      <a:pt x="1114" y="83"/>
                    </a:cubicBezTo>
                    <a:cubicBezTo>
                      <a:pt x="1112" y="83"/>
                      <a:pt x="1110" y="83"/>
                      <a:pt x="1109" y="83"/>
                    </a:cubicBezTo>
                    <a:cubicBezTo>
                      <a:pt x="1106" y="83"/>
                      <a:pt x="1103" y="82"/>
                      <a:pt x="1101" y="80"/>
                    </a:cubicBezTo>
                    <a:close/>
                    <a:moveTo>
                      <a:pt x="1013" y="27"/>
                    </a:moveTo>
                    <a:cubicBezTo>
                      <a:pt x="1013" y="68"/>
                      <a:pt x="1013" y="68"/>
                      <a:pt x="1013" y="68"/>
                    </a:cubicBezTo>
                    <a:cubicBezTo>
                      <a:pt x="1013" y="76"/>
                      <a:pt x="1015" y="82"/>
                      <a:pt x="1019" y="86"/>
                    </a:cubicBezTo>
                    <a:cubicBezTo>
                      <a:pt x="1023" y="89"/>
                      <a:pt x="1029" y="91"/>
                      <a:pt x="1036" y="91"/>
                    </a:cubicBezTo>
                    <a:cubicBezTo>
                      <a:pt x="1041" y="91"/>
                      <a:pt x="1045" y="90"/>
                      <a:pt x="1048" y="89"/>
                    </a:cubicBezTo>
                    <a:cubicBezTo>
                      <a:pt x="1052" y="87"/>
                      <a:pt x="1054" y="85"/>
                      <a:pt x="1056" y="81"/>
                    </a:cubicBezTo>
                    <a:cubicBezTo>
                      <a:pt x="1057" y="81"/>
                      <a:pt x="1057" y="81"/>
                      <a:pt x="1057" y="81"/>
                    </a:cubicBezTo>
                    <a:cubicBezTo>
                      <a:pt x="1058" y="90"/>
                      <a:pt x="1058" y="90"/>
                      <a:pt x="1058" y="90"/>
                    </a:cubicBezTo>
                    <a:cubicBezTo>
                      <a:pt x="1066" y="90"/>
                      <a:pt x="1066" y="90"/>
                      <a:pt x="1066" y="90"/>
                    </a:cubicBezTo>
                    <a:cubicBezTo>
                      <a:pt x="1066" y="27"/>
                      <a:pt x="1066" y="27"/>
                      <a:pt x="1066" y="27"/>
                    </a:cubicBezTo>
                    <a:cubicBezTo>
                      <a:pt x="1057" y="27"/>
                      <a:pt x="1057" y="27"/>
                      <a:pt x="1057" y="27"/>
                    </a:cubicBezTo>
                    <a:cubicBezTo>
                      <a:pt x="1057" y="60"/>
                      <a:pt x="1057" y="60"/>
                      <a:pt x="1057" y="60"/>
                    </a:cubicBezTo>
                    <a:cubicBezTo>
                      <a:pt x="1057" y="68"/>
                      <a:pt x="1055" y="74"/>
                      <a:pt x="1052" y="78"/>
                    </a:cubicBezTo>
                    <a:cubicBezTo>
                      <a:pt x="1049" y="81"/>
                      <a:pt x="1044" y="83"/>
                      <a:pt x="1038" y="83"/>
                    </a:cubicBezTo>
                    <a:cubicBezTo>
                      <a:pt x="1033" y="83"/>
                      <a:pt x="1029" y="82"/>
                      <a:pt x="1027" y="79"/>
                    </a:cubicBezTo>
                    <a:cubicBezTo>
                      <a:pt x="1024" y="77"/>
                      <a:pt x="1023" y="73"/>
                      <a:pt x="1023" y="68"/>
                    </a:cubicBezTo>
                    <a:cubicBezTo>
                      <a:pt x="1023" y="27"/>
                      <a:pt x="1023" y="27"/>
                      <a:pt x="1023" y="27"/>
                    </a:cubicBezTo>
                    <a:lnTo>
                      <a:pt x="1013" y="27"/>
                    </a:lnTo>
                    <a:close/>
                    <a:moveTo>
                      <a:pt x="992" y="0"/>
                    </a:moveTo>
                    <a:cubicBezTo>
                      <a:pt x="982" y="0"/>
                      <a:pt x="982" y="0"/>
                      <a:pt x="982" y="0"/>
                    </a:cubicBezTo>
                    <a:cubicBezTo>
                      <a:pt x="982" y="90"/>
                      <a:pt x="982" y="90"/>
                      <a:pt x="982" y="90"/>
                    </a:cubicBezTo>
                    <a:cubicBezTo>
                      <a:pt x="992" y="90"/>
                      <a:pt x="992" y="90"/>
                      <a:pt x="992" y="90"/>
                    </a:cubicBezTo>
                    <a:lnTo>
                      <a:pt x="992" y="0"/>
                    </a:lnTo>
                    <a:close/>
                    <a:moveTo>
                      <a:pt x="921" y="40"/>
                    </a:moveTo>
                    <a:cubicBezTo>
                      <a:pt x="924" y="36"/>
                      <a:pt x="929" y="34"/>
                      <a:pt x="935" y="34"/>
                    </a:cubicBezTo>
                    <a:cubicBezTo>
                      <a:pt x="941" y="34"/>
                      <a:pt x="946" y="36"/>
                      <a:pt x="949" y="40"/>
                    </a:cubicBezTo>
                    <a:cubicBezTo>
                      <a:pt x="952" y="44"/>
                      <a:pt x="954" y="50"/>
                      <a:pt x="954" y="58"/>
                    </a:cubicBezTo>
                    <a:cubicBezTo>
                      <a:pt x="954" y="66"/>
                      <a:pt x="952" y="73"/>
                      <a:pt x="949" y="77"/>
                    </a:cubicBezTo>
                    <a:cubicBezTo>
                      <a:pt x="946" y="81"/>
                      <a:pt x="941" y="83"/>
                      <a:pt x="935" y="83"/>
                    </a:cubicBezTo>
                    <a:cubicBezTo>
                      <a:pt x="929" y="83"/>
                      <a:pt x="924" y="81"/>
                      <a:pt x="921" y="77"/>
                    </a:cubicBezTo>
                    <a:cubicBezTo>
                      <a:pt x="917" y="73"/>
                      <a:pt x="916" y="66"/>
                      <a:pt x="916" y="58"/>
                    </a:cubicBezTo>
                    <a:cubicBezTo>
                      <a:pt x="916" y="50"/>
                      <a:pt x="917" y="44"/>
                      <a:pt x="921" y="40"/>
                    </a:cubicBezTo>
                    <a:close/>
                    <a:moveTo>
                      <a:pt x="956" y="34"/>
                    </a:moveTo>
                    <a:cubicBezTo>
                      <a:pt x="951" y="29"/>
                      <a:pt x="944" y="26"/>
                      <a:pt x="935" y="26"/>
                    </a:cubicBezTo>
                    <a:cubicBezTo>
                      <a:pt x="926" y="26"/>
                      <a:pt x="919" y="29"/>
                      <a:pt x="914" y="34"/>
                    </a:cubicBezTo>
                    <a:cubicBezTo>
                      <a:pt x="908" y="40"/>
                      <a:pt x="906" y="48"/>
                      <a:pt x="906" y="58"/>
                    </a:cubicBezTo>
                    <a:cubicBezTo>
                      <a:pt x="906" y="65"/>
                      <a:pt x="907" y="71"/>
                      <a:pt x="909" y="76"/>
                    </a:cubicBezTo>
                    <a:cubicBezTo>
                      <a:pt x="912" y="81"/>
                      <a:pt x="915" y="84"/>
                      <a:pt x="920" y="87"/>
                    </a:cubicBezTo>
                    <a:cubicBezTo>
                      <a:pt x="924" y="90"/>
                      <a:pt x="929" y="91"/>
                      <a:pt x="935" y="91"/>
                    </a:cubicBezTo>
                    <a:cubicBezTo>
                      <a:pt x="944" y="91"/>
                      <a:pt x="951" y="88"/>
                      <a:pt x="956" y="82"/>
                    </a:cubicBezTo>
                    <a:cubicBezTo>
                      <a:pt x="961" y="77"/>
                      <a:pt x="964" y="69"/>
                      <a:pt x="964" y="58"/>
                    </a:cubicBezTo>
                    <a:cubicBezTo>
                      <a:pt x="964" y="48"/>
                      <a:pt x="961" y="40"/>
                      <a:pt x="956" y="34"/>
                    </a:cubicBezTo>
                    <a:close/>
                    <a:moveTo>
                      <a:pt x="874" y="90"/>
                    </a:moveTo>
                    <a:cubicBezTo>
                      <a:pt x="898" y="27"/>
                      <a:pt x="898" y="27"/>
                      <a:pt x="898" y="27"/>
                    </a:cubicBezTo>
                    <a:cubicBezTo>
                      <a:pt x="887" y="27"/>
                      <a:pt x="887" y="27"/>
                      <a:pt x="887" y="27"/>
                    </a:cubicBezTo>
                    <a:cubicBezTo>
                      <a:pt x="879" y="48"/>
                      <a:pt x="874" y="62"/>
                      <a:pt x="872" y="69"/>
                    </a:cubicBezTo>
                    <a:cubicBezTo>
                      <a:pt x="870" y="75"/>
                      <a:pt x="869" y="79"/>
                      <a:pt x="868" y="81"/>
                    </a:cubicBezTo>
                    <a:cubicBezTo>
                      <a:pt x="868" y="81"/>
                      <a:pt x="868" y="81"/>
                      <a:pt x="868" y="81"/>
                    </a:cubicBezTo>
                    <a:cubicBezTo>
                      <a:pt x="867" y="79"/>
                      <a:pt x="865" y="73"/>
                      <a:pt x="862" y="64"/>
                    </a:cubicBezTo>
                    <a:cubicBezTo>
                      <a:pt x="849" y="27"/>
                      <a:pt x="849" y="27"/>
                      <a:pt x="849" y="27"/>
                    </a:cubicBezTo>
                    <a:cubicBezTo>
                      <a:pt x="838" y="27"/>
                      <a:pt x="838" y="27"/>
                      <a:pt x="838" y="27"/>
                    </a:cubicBezTo>
                    <a:cubicBezTo>
                      <a:pt x="862" y="90"/>
                      <a:pt x="862" y="90"/>
                      <a:pt x="862" y="90"/>
                    </a:cubicBezTo>
                    <a:lnTo>
                      <a:pt x="874" y="90"/>
                    </a:lnTo>
                    <a:close/>
                    <a:moveTo>
                      <a:pt x="830" y="81"/>
                    </a:moveTo>
                    <a:cubicBezTo>
                      <a:pt x="792" y="81"/>
                      <a:pt x="792" y="81"/>
                      <a:pt x="792" y="81"/>
                    </a:cubicBezTo>
                    <a:cubicBezTo>
                      <a:pt x="792" y="50"/>
                      <a:pt x="792" y="50"/>
                      <a:pt x="792" y="50"/>
                    </a:cubicBezTo>
                    <a:cubicBezTo>
                      <a:pt x="827" y="50"/>
                      <a:pt x="827" y="50"/>
                      <a:pt x="827" y="50"/>
                    </a:cubicBezTo>
                    <a:cubicBezTo>
                      <a:pt x="827" y="42"/>
                      <a:pt x="827" y="42"/>
                      <a:pt x="827" y="42"/>
                    </a:cubicBezTo>
                    <a:cubicBezTo>
                      <a:pt x="792" y="42"/>
                      <a:pt x="792" y="42"/>
                      <a:pt x="792" y="42"/>
                    </a:cubicBezTo>
                    <a:cubicBezTo>
                      <a:pt x="792" y="14"/>
                      <a:pt x="792" y="14"/>
                      <a:pt x="792" y="14"/>
                    </a:cubicBezTo>
                    <a:cubicBezTo>
                      <a:pt x="830" y="14"/>
                      <a:pt x="830" y="14"/>
                      <a:pt x="830" y="14"/>
                    </a:cubicBezTo>
                    <a:cubicBezTo>
                      <a:pt x="830" y="6"/>
                      <a:pt x="830" y="6"/>
                      <a:pt x="830" y="6"/>
                    </a:cubicBezTo>
                    <a:cubicBezTo>
                      <a:pt x="783" y="6"/>
                      <a:pt x="783" y="6"/>
                      <a:pt x="783" y="6"/>
                    </a:cubicBezTo>
                    <a:cubicBezTo>
                      <a:pt x="783" y="90"/>
                      <a:pt x="783" y="90"/>
                      <a:pt x="783" y="90"/>
                    </a:cubicBezTo>
                    <a:cubicBezTo>
                      <a:pt x="830" y="90"/>
                      <a:pt x="830" y="90"/>
                      <a:pt x="830" y="90"/>
                    </a:cubicBezTo>
                    <a:lnTo>
                      <a:pt x="830" y="81"/>
                    </a:lnTo>
                    <a:close/>
                    <a:moveTo>
                      <a:pt x="727" y="90"/>
                    </a:moveTo>
                    <a:cubicBezTo>
                      <a:pt x="727" y="49"/>
                      <a:pt x="727" y="49"/>
                      <a:pt x="727" y="49"/>
                    </a:cubicBezTo>
                    <a:cubicBezTo>
                      <a:pt x="727" y="41"/>
                      <a:pt x="725" y="35"/>
                      <a:pt x="722" y="31"/>
                    </a:cubicBezTo>
                    <a:cubicBezTo>
                      <a:pt x="718" y="28"/>
                      <a:pt x="712" y="26"/>
                      <a:pt x="704" y="26"/>
                    </a:cubicBezTo>
                    <a:cubicBezTo>
                      <a:pt x="700" y="26"/>
                      <a:pt x="696" y="27"/>
                      <a:pt x="692" y="28"/>
                    </a:cubicBezTo>
                    <a:cubicBezTo>
                      <a:pt x="689" y="30"/>
                      <a:pt x="686" y="33"/>
                      <a:pt x="684" y="36"/>
                    </a:cubicBezTo>
                    <a:cubicBezTo>
                      <a:pt x="684" y="36"/>
                      <a:pt x="684" y="36"/>
                      <a:pt x="684" y="36"/>
                    </a:cubicBezTo>
                    <a:cubicBezTo>
                      <a:pt x="684" y="33"/>
                      <a:pt x="684" y="31"/>
                      <a:pt x="684" y="27"/>
                    </a:cubicBezTo>
                    <a:cubicBezTo>
                      <a:pt x="684" y="0"/>
                      <a:pt x="684" y="0"/>
                      <a:pt x="684" y="0"/>
                    </a:cubicBezTo>
                    <a:cubicBezTo>
                      <a:pt x="675" y="0"/>
                      <a:pt x="675" y="0"/>
                      <a:pt x="675" y="0"/>
                    </a:cubicBezTo>
                    <a:cubicBezTo>
                      <a:pt x="675" y="90"/>
                      <a:pt x="675" y="90"/>
                      <a:pt x="675" y="90"/>
                    </a:cubicBezTo>
                    <a:cubicBezTo>
                      <a:pt x="684" y="90"/>
                      <a:pt x="684" y="90"/>
                      <a:pt x="684" y="90"/>
                    </a:cubicBezTo>
                    <a:cubicBezTo>
                      <a:pt x="684" y="57"/>
                      <a:pt x="684" y="57"/>
                      <a:pt x="684" y="57"/>
                    </a:cubicBezTo>
                    <a:cubicBezTo>
                      <a:pt x="684" y="49"/>
                      <a:pt x="686" y="43"/>
                      <a:pt x="689" y="39"/>
                    </a:cubicBezTo>
                    <a:cubicBezTo>
                      <a:pt x="692" y="36"/>
                      <a:pt x="697" y="34"/>
                      <a:pt x="703" y="34"/>
                    </a:cubicBezTo>
                    <a:cubicBezTo>
                      <a:pt x="708" y="34"/>
                      <a:pt x="712" y="35"/>
                      <a:pt x="714" y="38"/>
                    </a:cubicBezTo>
                    <a:cubicBezTo>
                      <a:pt x="717" y="40"/>
                      <a:pt x="718" y="44"/>
                      <a:pt x="718" y="49"/>
                    </a:cubicBezTo>
                    <a:cubicBezTo>
                      <a:pt x="718" y="90"/>
                      <a:pt x="718" y="90"/>
                      <a:pt x="718" y="90"/>
                    </a:cubicBezTo>
                    <a:lnTo>
                      <a:pt x="727" y="90"/>
                    </a:lnTo>
                    <a:close/>
                    <a:moveTo>
                      <a:pt x="644" y="80"/>
                    </a:moveTo>
                    <a:cubicBezTo>
                      <a:pt x="642" y="78"/>
                      <a:pt x="641" y="75"/>
                      <a:pt x="641" y="71"/>
                    </a:cubicBezTo>
                    <a:cubicBezTo>
                      <a:pt x="641" y="34"/>
                      <a:pt x="641" y="34"/>
                      <a:pt x="641" y="34"/>
                    </a:cubicBezTo>
                    <a:cubicBezTo>
                      <a:pt x="660" y="34"/>
                      <a:pt x="660" y="34"/>
                      <a:pt x="660" y="34"/>
                    </a:cubicBezTo>
                    <a:cubicBezTo>
                      <a:pt x="660" y="27"/>
                      <a:pt x="660" y="27"/>
                      <a:pt x="660" y="27"/>
                    </a:cubicBezTo>
                    <a:cubicBezTo>
                      <a:pt x="641" y="27"/>
                      <a:pt x="641" y="27"/>
                      <a:pt x="641" y="27"/>
                    </a:cubicBezTo>
                    <a:cubicBezTo>
                      <a:pt x="641" y="12"/>
                      <a:pt x="641" y="12"/>
                      <a:pt x="641" y="12"/>
                    </a:cubicBezTo>
                    <a:cubicBezTo>
                      <a:pt x="636" y="12"/>
                      <a:pt x="636" y="12"/>
                      <a:pt x="636" y="12"/>
                    </a:cubicBezTo>
                    <a:cubicBezTo>
                      <a:pt x="632" y="26"/>
                      <a:pt x="632" y="26"/>
                      <a:pt x="632" y="26"/>
                    </a:cubicBezTo>
                    <a:cubicBezTo>
                      <a:pt x="623" y="30"/>
                      <a:pt x="623" y="30"/>
                      <a:pt x="623" y="30"/>
                    </a:cubicBezTo>
                    <a:cubicBezTo>
                      <a:pt x="623" y="34"/>
                      <a:pt x="623" y="34"/>
                      <a:pt x="623" y="34"/>
                    </a:cubicBezTo>
                    <a:cubicBezTo>
                      <a:pt x="632" y="34"/>
                      <a:pt x="632" y="34"/>
                      <a:pt x="632" y="34"/>
                    </a:cubicBezTo>
                    <a:cubicBezTo>
                      <a:pt x="632" y="72"/>
                      <a:pt x="632" y="72"/>
                      <a:pt x="632" y="72"/>
                    </a:cubicBezTo>
                    <a:cubicBezTo>
                      <a:pt x="632" y="85"/>
                      <a:pt x="638" y="91"/>
                      <a:pt x="650" y="91"/>
                    </a:cubicBezTo>
                    <a:cubicBezTo>
                      <a:pt x="652" y="91"/>
                      <a:pt x="654" y="91"/>
                      <a:pt x="656" y="91"/>
                    </a:cubicBezTo>
                    <a:cubicBezTo>
                      <a:pt x="658" y="90"/>
                      <a:pt x="659" y="90"/>
                      <a:pt x="660" y="89"/>
                    </a:cubicBezTo>
                    <a:cubicBezTo>
                      <a:pt x="660" y="82"/>
                      <a:pt x="660" y="82"/>
                      <a:pt x="660" y="82"/>
                    </a:cubicBezTo>
                    <a:cubicBezTo>
                      <a:pt x="659" y="82"/>
                      <a:pt x="658" y="83"/>
                      <a:pt x="656" y="83"/>
                    </a:cubicBezTo>
                    <a:cubicBezTo>
                      <a:pt x="655" y="83"/>
                      <a:pt x="653" y="83"/>
                      <a:pt x="651" y="83"/>
                    </a:cubicBezTo>
                    <a:cubicBezTo>
                      <a:pt x="648" y="83"/>
                      <a:pt x="646" y="82"/>
                      <a:pt x="644" y="80"/>
                    </a:cubicBezTo>
                    <a:close/>
                    <a:moveTo>
                      <a:pt x="609" y="0"/>
                    </a:moveTo>
                    <a:cubicBezTo>
                      <a:pt x="599" y="0"/>
                      <a:pt x="599" y="0"/>
                      <a:pt x="599" y="0"/>
                    </a:cubicBezTo>
                    <a:cubicBezTo>
                      <a:pt x="599" y="90"/>
                      <a:pt x="599" y="90"/>
                      <a:pt x="599" y="90"/>
                    </a:cubicBezTo>
                    <a:cubicBezTo>
                      <a:pt x="609" y="90"/>
                      <a:pt x="609" y="90"/>
                      <a:pt x="609" y="90"/>
                    </a:cubicBezTo>
                    <a:lnTo>
                      <a:pt x="609" y="0"/>
                    </a:lnTo>
                    <a:close/>
                    <a:moveTo>
                      <a:pt x="541" y="81"/>
                    </a:moveTo>
                    <a:cubicBezTo>
                      <a:pt x="538" y="79"/>
                      <a:pt x="537" y="76"/>
                      <a:pt x="537" y="73"/>
                    </a:cubicBezTo>
                    <a:cubicBezTo>
                      <a:pt x="537" y="68"/>
                      <a:pt x="539" y="65"/>
                      <a:pt x="542" y="63"/>
                    </a:cubicBezTo>
                    <a:cubicBezTo>
                      <a:pt x="546" y="61"/>
                      <a:pt x="551" y="60"/>
                      <a:pt x="559" y="59"/>
                    </a:cubicBezTo>
                    <a:cubicBezTo>
                      <a:pt x="568" y="59"/>
                      <a:pt x="568" y="59"/>
                      <a:pt x="568" y="59"/>
                    </a:cubicBezTo>
                    <a:cubicBezTo>
                      <a:pt x="568" y="65"/>
                      <a:pt x="568" y="65"/>
                      <a:pt x="568" y="65"/>
                    </a:cubicBezTo>
                    <a:cubicBezTo>
                      <a:pt x="568" y="70"/>
                      <a:pt x="567" y="75"/>
                      <a:pt x="563" y="78"/>
                    </a:cubicBezTo>
                    <a:cubicBezTo>
                      <a:pt x="560" y="82"/>
                      <a:pt x="555" y="83"/>
                      <a:pt x="549" y="83"/>
                    </a:cubicBezTo>
                    <a:cubicBezTo>
                      <a:pt x="546" y="83"/>
                      <a:pt x="543" y="82"/>
                      <a:pt x="541" y="81"/>
                    </a:cubicBezTo>
                    <a:close/>
                    <a:moveTo>
                      <a:pt x="578" y="90"/>
                    </a:moveTo>
                    <a:cubicBezTo>
                      <a:pt x="578" y="47"/>
                      <a:pt x="578" y="47"/>
                      <a:pt x="578" y="47"/>
                    </a:cubicBezTo>
                    <a:cubicBezTo>
                      <a:pt x="578" y="39"/>
                      <a:pt x="576" y="34"/>
                      <a:pt x="573" y="31"/>
                    </a:cubicBezTo>
                    <a:cubicBezTo>
                      <a:pt x="569" y="27"/>
                      <a:pt x="563" y="26"/>
                      <a:pt x="556" y="26"/>
                    </a:cubicBezTo>
                    <a:cubicBezTo>
                      <a:pt x="552" y="26"/>
                      <a:pt x="548" y="26"/>
                      <a:pt x="545" y="27"/>
                    </a:cubicBezTo>
                    <a:cubicBezTo>
                      <a:pt x="541" y="28"/>
                      <a:pt x="538" y="29"/>
                      <a:pt x="534" y="31"/>
                    </a:cubicBezTo>
                    <a:cubicBezTo>
                      <a:pt x="537" y="38"/>
                      <a:pt x="537" y="38"/>
                      <a:pt x="537" y="38"/>
                    </a:cubicBezTo>
                    <a:cubicBezTo>
                      <a:pt x="544" y="35"/>
                      <a:pt x="550" y="34"/>
                      <a:pt x="555" y="34"/>
                    </a:cubicBezTo>
                    <a:cubicBezTo>
                      <a:pt x="560" y="34"/>
                      <a:pt x="563" y="35"/>
                      <a:pt x="565" y="37"/>
                    </a:cubicBezTo>
                    <a:cubicBezTo>
                      <a:pt x="568" y="40"/>
                      <a:pt x="569" y="43"/>
                      <a:pt x="569" y="48"/>
                    </a:cubicBezTo>
                    <a:cubicBezTo>
                      <a:pt x="569" y="52"/>
                      <a:pt x="569" y="52"/>
                      <a:pt x="569" y="52"/>
                    </a:cubicBezTo>
                    <a:cubicBezTo>
                      <a:pt x="558" y="52"/>
                      <a:pt x="558" y="52"/>
                      <a:pt x="558" y="52"/>
                    </a:cubicBezTo>
                    <a:cubicBezTo>
                      <a:pt x="538" y="53"/>
                      <a:pt x="527" y="60"/>
                      <a:pt x="527" y="72"/>
                    </a:cubicBezTo>
                    <a:cubicBezTo>
                      <a:pt x="527" y="78"/>
                      <a:pt x="529" y="83"/>
                      <a:pt x="533" y="86"/>
                    </a:cubicBezTo>
                    <a:cubicBezTo>
                      <a:pt x="536" y="89"/>
                      <a:pt x="541" y="91"/>
                      <a:pt x="547" y="91"/>
                    </a:cubicBezTo>
                    <a:cubicBezTo>
                      <a:pt x="552" y="91"/>
                      <a:pt x="556" y="90"/>
                      <a:pt x="559" y="89"/>
                    </a:cubicBezTo>
                    <a:cubicBezTo>
                      <a:pt x="562" y="88"/>
                      <a:pt x="565" y="85"/>
                      <a:pt x="569" y="81"/>
                    </a:cubicBezTo>
                    <a:cubicBezTo>
                      <a:pt x="569" y="81"/>
                      <a:pt x="569" y="81"/>
                      <a:pt x="569" y="81"/>
                    </a:cubicBezTo>
                    <a:cubicBezTo>
                      <a:pt x="571" y="90"/>
                      <a:pt x="571" y="90"/>
                      <a:pt x="571" y="90"/>
                    </a:cubicBezTo>
                    <a:lnTo>
                      <a:pt x="578" y="90"/>
                    </a:lnTo>
                    <a:close/>
                    <a:moveTo>
                      <a:pt x="500" y="38"/>
                    </a:moveTo>
                    <a:cubicBezTo>
                      <a:pt x="502" y="42"/>
                      <a:pt x="504" y="46"/>
                      <a:pt x="504" y="52"/>
                    </a:cubicBezTo>
                    <a:cubicBezTo>
                      <a:pt x="471" y="52"/>
                      <a:pt x="471" y="52"/>
                      <a:pt x="471" y="52"/>
                    </a:cubicBezTo>
                    <a:cubicBezTo>
                      <a:pt x="471" y="46"/>
                      <a:pt x="473" y="42"/>
                      <a:pt x="476" y="39"/>
                    </a:cubicBezTo>
                    <a:cubicBezTo>
                      <a:pt x="479" y="35"/>
                      <a:pt x="483" y="34"/>
                      <a:pt x="488" y="34"/>
                    </a:cubicBezTo>
                    <a:cubicBezTo>
                      <a:pt x="493" y="34"/>
                      <a:pt x="497" y="35"/>
                      <a:pt x="500" y="38"/>
                    </a:cubicBezTo>
                    <a:close/>
                    <a:moveTo>
                      <a:pt x="502" y="90"/>
                    </a:moveTo>
                    <a:cubicBezTo>
                      <a:pt x="505" y="90"/>
                      <a:pt x="508" y="88"/>
                      <a:pt x="511" y="87"/>
                    </a:cubicBezTo>
                    <a:cubicBezTo>
                      <a:pt x="511" y="78"/>
                      <a:pt x="511" y="78"/>
                      <a:pt x="511" y="78"/>
                    </a:cubicBezTo>
                    <a:cubicBezTo>
                      <a:pt x="505" y="81"/>
                      <a:pt x="498" y="83"/>
                      <a:pt x="491" y="83"/>
                    </a:cubicBezTo>
                    <a:cubicBezTo>
                      <a:pt x="485" y="83"/>
                      <a:pt x="480" y="81"/>
                      <a:pt x="476" y="77"/>
                    </a:cubicBezTo>
                    <a:cubicBezTo>
                      <a:pt x="473" y="73"/>
                      <a:pt x="471" y="68"/>
                      <a:pt x="471" y="60"/>
                    </a:cubicBezTo>
                    <a:cubicBezTo>
                      <a:pt x="514" y="60"/>
                      <a:pt x="514" y="60"/>
                      <a:pt x="514" y="60"/>
                    </a:cubicBezTo>
                    <a:cubicBezTo>
                      <a:pt x="514" y="54"/>
                      <a:pt x="514" y="54"/>
                      <a:pt x="514" y="54"/>
                    </a:cubicBezTo>
                    <a:cubicBezTo>
                      <a:pt x="514" y="46"/>
                      <a:pt x="512" y="39"/>
                      <a:pt x="507" y="33"/>
                    </a:cubicBezTo>
                    <a:cubicBezTo>
                      <a:pt x="502" y="28"/>
                      <a:pt x="496" y="26"/>
                      <a:pt x="488" y="26"/>
                    </a:cubicBezTo>
                    <a:cubicBezTo>
                      <a:pt x="480" y="26"/>
                      <a:pt x="473" y="29"/>
                      <a:pt x="468" y="35"/>
                    </a:cubicBezTo>
                    <a:cubicBezTo>
                      <a:pt x="463" y="41"/>
                      <a:pt x="461" y="49"/>
                      <a:pt x="461" y="59"/>
                    </a:cubicBezTo>
                    <a:cubicBezTo>
                      <a:pt x="461" y="69"/>
                      <a:pt x="463" y="77"/>
                      <a:pt x="469" y="83"/>
                    </a:cubicBezTo>
                    <a:cubicBezTo>
                      <a:pt x="474" y="88"/>
                      <a:pt x="481" y="91"/>
                      <a:pt x="491" y="91"/>
                    </a:cubicBezTo>
                    <a:cubicBezTo>
                      <a:pt x="495" y="91"/>
                      <a:pt x="499" y="91"/>
                      <a:pt x="502" y="90"/>
                    </a:cubicBezTo>
                    <a:close/>
                    <a:moveTo>
                      <a:pt x="441" y="6"/>
                    </a:moveTo>
                    <a:cubicBezTo>
                      <a:pt x="431" y="6"/>
                      <a:pt x="431" y="6"/>
                      <a:pt x="431" y="6"/>
                    </a:cubicBezTo>
                    <a:cubicBezTo>
                      <a:pt x="431" y="42"/>
                      <a:pt x="431" y="42"/>
                      <a:pt x="431" y="42"/>
                    </a:cubicBezTo>
                    <a:cubicBezTo>
                      <a:pt x="387" y="42"/>
                      <a:pt x="387" y="42"/>
                      <a:pt x="387" y="42"/>
                    </a:cubicBezTo>
                    <a:cubicBezTo>
                      <a:pt x="387" y="6"/>
                      <a:pt x="387" y="6"/>
                      <a:pt x="387" y="6"/>
                    </a:cubicBezTo>
                    <a:cubicBezTo>
                      <a:pt x="377" y="6"/>
                      <a:pt x="377" y="6"/>
                      <a:pt x="377" y="6"/>
                    </a:cubicBezTo>
                    <a:cubicBezTo>
                      <a:pt x="377" y="90"/>
                      <a:pt x="377" y="90"/>
                      <a:pt x="377" y="90"/>
                    </a:cubicBezTo>
                    <a:cubicBezTo>
                      <a:pt x="387" y="90"/>
                      <a:pt x="387" y="90"/>
                      <a:pt x="387" y="90"/>
                    </a:cubicBezTo>
                    <a:cubicBezTo>
                      <a:pt x="387" y="50"/>
                      <a:pt x="387" y="50"/>
                      <a:pt x="387" y="50"/>
                    </a:cubicBezTo>
                    <a:cubicBezTo>
                      <a:pt x="431" y="50"/>
                      <a:pt x="431" y="50"/>
                      <a:pt x="431" y="50"/>
                    </a:cubicBezTo>
                    <a:cubicBezTo>
                      <a:pt x="431" y="90"/>
                      <a:pt x="431" y="90"/>
                      <a:pt x="431" y="90"/>
                    </a:cubicBezTo>
                    <a:cubicBezTo>
                      <a:pt x="441" y="90"/>
                      <a:pt x="441" y="90"/>
                      <a:pt x="441" y="90"/>
                    </a:cubicBezTo>
                    <a:lnTo>
                      <a:pt x="441" y="6"/>
                    </a:lnTo>
                    <a:close/>
                    <a:moveTo>
                      <a:pt x="312" y="80"/>
                    </a:moveTo>
                    <a:cubicBezTo>
                      <a:pt x="311" y="78"/>
                      <a:pt x="310" y="75"/>
                      <a:pt x="310" y="71"/>
                    </a:cubicBezTo>
                    <a:cubicBezTo>
                      <a:pt x="310" y="34"/>
                      <a:pt x="310" y="34"/>
                      <a:pt x="310" y="34"/>
                    </a:cubicBezTo>
                    <a:cubicBezTo>
                      <a:pt x="328" y="34"/>
                      <a:pt x="328" y="34"/>
                      <a:pt x="328" y="34"/>
                    </a:cubicBezTo>
                    <a:cubicBezTo>
                      <a:pt x="328" y="27"/>
                      <a:pt x="328" y="27"/>
                      <a:pt x="328" y="27"/>
                    </a:cubicBezTo>
                    <a:cubicBezTo>
                      <a:pt x="310" y="27"/>
                      <a:pt x="310" y="27"/>
                      <a:pt x="310" y="27"/>
                    </a:cubicBezTo>
                    <a:cubicBezTo>
                      <a:pt x="310" y="12"/>
                      <a:pt x="310" y="12"/>
                      <a:pt x="310" y="12"/>
                    </a:cubicBezTo>
                    <a:cubicBezTo>
                      <a:pt x="304" y="12"/>
                      <a:pt x="304" y="12"/>
                      <a:pt x="304" y="12"/>
                    </a:cubicBezTo>
                    <a:cubicBezTo>
                      <a:pt x="300" y="26"/>
                      <a:pt x="300" y="26"/>
                      <a:pt x="300" y="26"/>
                    </a:cubicBezTo>
                    <a:cubicBezTo>
                      <a:pt x="291" y="30"/>
                      <a:pt x="291" y="30"/>
                      <a:pt x="291" y="30"/>
                    </a:cubicBezTo>
                    <a:cubicBezTo>
                      <a:pt x="291" y="34"/>
                      <a:pt x="291" y="34"/>
                      <a:pt x="291" y="34"/>
                    </a:cubicBezTo>
                    <a:cubicBezTo>
                      <a:pt x="300" y="34"/>
                      <a:pt x="300" y="34"/>
                      <a:pt x="300" y="34"/>
                    </a:cubicBezTo>
                    <a:cubicBezTo>
                      <a:pt x="300" y="72"/>
                      <a:pt x="300" y="72"/>
                      <a:pt x="300" y="72"/>
                    </a:cubicBezTo>
                    <a:cubicBezTo>
                      <a:pt x="300" y="85"/>
                      <a:pt x="306" y="91"/>
                      <a:pt x="318" y="91"/>
                    </a:cubicBezTo>
                    <a:cubicBezTo>
                      <a:pt x="320" y="91"/>
                      <a:pt x="322" y="91"/>
                      <a:pt x="324" y="91"/>
                    </a:cubicBezTo>
                    <a:cubicBezTo>
                      <a:pt x="326" y="90"/>
                      <a:pt x="327" y="90"/>
                      <a:pt x="328" y="89"/>
                    </a:cubicBezTo>
                    <a:cubicBezTo>
                      <a:pt x="328" y="82"/>
                      <a:pt x="328" y="82"/>
                      <a:pt x="328" y="82"/>
                    </a:cubicBezTo>
                    <a:cubicBezTo>
                      <a:pt x="328" y="82"/>
                      <a:pt x="326" y="83"/>
                      <a:pt x="325" y="83"/>
                    </a:cubicBezTo>
                    <a:cubicBezTo>
                      <a:pt x="323" y="83"/>
                      <a:pt x="322" y="83"/>
                      <a:pt x="320" y="83"/>
                    </a:cubicBezTo>
                    <a:cubicBezTo>
                      <a:pt x="317" y="83"/>
                      <a:pt x="314" y="82"/>
                      <a:pt x="312" y="80"/>
                    </a:cubicBezTo>
                    <a:close/>
                    <a:moveTo>
                      <a:pt x="267" y="29"/>
                    </a:moveTo>
                    <a:cubicBezTo>
                      <a:pt x="264" y="31"/>
                      <a:pt x="261" y="34"/>
                      <a:pt x="259" y="38"/>
                    </a:cubicBezTo>
                    <a:cubicBezTo>
                      <a:pt x="258" y="38"/>
                      <a:pt x="258" y="38"/>
                      <a:pt x="258" y="38"/>
                    </a:cubicBezTo>
                    <a:cubicBezTo>
                      <a:pt x="257" y="27"/>
                      <a:pt x="257" y="27"/>
                      <a:pt x="257" y="27"/>
                    </a:cubicBezTo>
                    <a:cubicBezTo>
                      <a:pt x="249" y="27"/>
                      <a:pt x="249" y="27"/>
                      <a:pt x="249" y="27"/>
                    </a:cubicBezTo>
                    <a:cubicBezTo>
                      <a:pt x="249" y="90"/>
                      <a:pt x="249" y="90"/>
                      <a:pt x="249" y="90"/>
                    </a:cubicBezTo>
                    <a:cubicBezTo>
                      <a:pt x="259" y="90"/>
                      <a:pt x="259" y="90"/>
                      <a:pt x="259" y="90"/>
                    </a:cubicBezTo>
                    <a:cubicBezTo>
                      <a:pt x="259" y="56"/>
                      <a:pt x="259" y="56"/>
                      <a:pt x="259" y="56"/>
                    </a:cubicBezTo>
                    <a:cubicBezTo>
                      <a:pt x="259" y="50"/>
                      <a:pt x="261" y="45"/>
                      <a:pt x="265" y="41"/>
                    </a:cubicBezTo>
                    <a:cubicBezTo>
                      <a:pt x="268" y="36"/>
                      <a:pt x="273" y="34"/>
                      <a:pt x="278" y="34"/>
                    </a:cubicBezTo>
                    <a:cubicBezTo>
                      <a:pt x="280" y="34"/>
                      <a:pt x="282" y="35"/>
                      <a:pt x="285" y="35"/>
                    </a:cubicBezTo>
                    <a:cubicBezTo>
                      <a:pt x="286" y="26"/>
                      <a:pt x="286" y="26"/>
                      <a:pt x="286" y="26"/>
                    </a:cubicBezTo>
                    <a:cubicBezTo>
                      <a:pt x="284" y="26"/>
                      <a:pt x="281" y="26"/>
                      <a:pt x="278" y="26"/>
                    </a:cubicBezTo>
                    <a:cubicBezTo>
                      <a:pt x="274" y="26"/>
                      <a:pt x="271" y="27"/>
                      <a:pt x="267" y="29"/>
                    </a:cubicBezTo>
                    <a:close/>
                    <a:moveTo>
                      <a:pt x="191" y="81"/>
                    </a:moveTo>
                    <a:cubicBezTo>
                      <a:pt x="188" y="79"/>
                      <a:pt x="187" y="76"/>
                      <a:pt x="187" y="73"/>
                    </a:cubicBezTo>
                    <a:cubicBezTo>
                      <a:pt x="187" y="68"/>
                      <a:pt x="189" y="65"/>
                      <a:pt x="192" y="63"/>
                    </a:cubicBezTo>
                    <a:cubicBezTo>
                      <a:pt x="196" y="61"/>
                      <a:pt x="201" y="60"/>
                      <a:pt x="209" y="59"/>
                    </a:cubicBezTo>
                    <a:cubicBezTo>
                      <a:pt x="218" y="59"/>
                      <a:pt x="218" y="59"/>
                      <a:pt x="218" y="59"/>
                    </a:cubicBezTo>
                    <a:cubicBezTo>
                      <a:pt x="218" y="65"/>
                      <a:pt x="218" y="65"/>
                      <a:pt x="218" y="65"/>
                    </a:cubicBezTo>
                    <a:cubicBezTo>
                      <a:pt x="218" y="70"/>
                      <a:pt x="217" y="75"/>
                      <a:pt x="213" y="78"/>
                    </a:cubicBezTo>
                    <a:cubicBezTo>
                      <a:pt x="210" y="82"/>
                      <a:pt x="205" y="83"/>
                      <a:pt x="199" y="83"/>
                    </a:cubicBezTo>
                    <a:cubicBezTo>
                      <a:pt x="196" y="83"/>
                      <a:pt x="193" y="82"/>
                      <a:pt x="191" y="81"/>
                    </a:cubicBezTo>
                    <a:close/>
                    <a:moveTo>
                      <a:pt x="228" y="90"/>
                    </a:moveTo>
                    <a:cubicBezTo>
                      <a:pt x="228" y="47"/>
                      <a:pt x="228" y="47"/>
                      <a:pt x="228" y="47"/>
                    </a:cubicBezTo>
                    <a:cubicBezTo>
                      <a:pt x="228" y="39"/>
                      <a:pt x="226" y="34"/>
                      <a:pt x="223" y="31"/>
                    </a:cubicBezTo>
                    <a:cubicBezTo>
                      <a:pt x="219" y="27"/>
                      <a:pt x="213" y="26"/>
                      <a:pt x="206" y="26"/>
                    </a:cubicBezTo>
                    <a:cubicBezTo>
                      <a:pt x="202" y="26"/>
                      <a:pt x="198" y="26"/>
                      <a:pt x="195" y="27"/>
                    </a:cubicBezTo>
                    <a:cubicBezTo>
                      <a:pt x="191" y="28"/>
                      <a:pt x="188" y="29"/>
                      <a:pt x="184" y="31"/>
                    </a:cubicBezTo>
                    <a:cubicBezTo>
                      <a:pt x="187" y="38"/>
                      <a:pt x="187" y="38"/>
                      <a:pt x="187" y="38"/>
                    </a:cubicBezTo>
                    <a:cubicBezTo>
                      <a:pt x="194" y="35"/>
                      <a:pt x="200" y="34"/>
                      <a:pt x="205" y="34"/>
                    </a:cubicBezTo>
                    <a:cubicBezTo>
                      <a:pt x="210" y="34"/>
                      <a:pt x="213" y="35"/>
                      <a:pt x="215" y="37"/>
                    </a:cubicBezTo>
                    <a:cubicBezTo>
                      <a:pt x="218" y="40"/>
                      <a:pt x="219" y="43"/>
                      <a:pt x="219" y="48"/>
                    </a:cubicBezTo>
                    <a:cubicBezTo>
                      <a:pt x="219" y="52"/>
                      <a:pt x="219" y="52"/>
                      <a:pt x="219" y="52"/>
                    </a:cubicBezTo>
                    <a:cubicBezTo>
                      <a:pt x="208" y="52"/>
                      <a:pt x="208" y="52"/>
                      <a:pt x="208" y="52"/>
                    </a:cubicBezTo>
                    <a:cubicBezTo>
                      <a:pt x="188" y="53"/>
                      <a:pt x="177" y="60"/>
                      <a:pt x="177" y="72"/>
                    </a:cubicBezTo>
                    <a:cubicBezTo>
                      <a:pt x="177" y="78"/>
                      <a:pt x="179" y="83"/>
                      <a:pt x="183" y="86"/>
                    </a:cubicBezTo>
                    <a:cubicBezTo>
                      <a:pt x="186" y="89"/>
                      <a:pt x="191" y="91"/>
                      <a:pt x="197" y="91"/>
                    </a:cubicBezTo>
                    <a:cubicBezTo>
                      <a:pt x="202" y="91"/>
                      <a:pt x="206" y="90"/>
                      <a:pt x="209" y="89"/>
                    </a:cubicBezTo>
                    <a:cubicBezTo>
                      <a:pt x="212" y="88"/>
                      <a:pt x="215" y="85"/>
                      <a:pt x="219" y="81"/>
                    </a:cubicBezTo>
                    <a:cubicBezTo>
                      <a:pt x="219" y="81"/>
                      <a:pt x="219" y="81"/>
                      <a:pt x="219" y="81"/>
                    </a:cubicBezTo>
                    <a:cubicBezTo>
                      <a:pt x="221" y="90"/>
                      <a:pt x="221" y="90"/>
                      <a:pt x="221" y="90"/>
                    </a:cubicBezTo>
                    <a:lnTo>
                      <a:pt x="228" y="90"/>
                    </a:lnTo>
                    <a:close/>
                    <a:moveTo>
                      <a:pt x="161" y="90"/>
                    </a:moveTo>
                    <a:cubicBezTo>
                      <a:pt x="161" y="49"/>
                      <a:pt x="161" y="49"/>
                      <a:pt x="161" y="49"/>
                    </a:cubicBezTo>
                    <a:cubicBezTo>
                      <a:pt x="161" y="41"/>
                      <a:pt x="159" y="35"/>
                      <a:pt x="155" y="31"/>
                    </a:cubicBezTo>
                    <a:cubicBezTo>
                      <a:pt x="152" y="27"/>
                      <a:pt x="146" y="26"/>
                      <a:pt x="139" y="26"/>
                    </a:cubicBezTo>
                    <a:cubicBezTo>
                      <a:pt x="135" y="26"/>
                      <a:pt x="131" y="27"/>
                      <a:pt x="127" y="29"/>
                    </a:cubicBezTo>
                    <a:cubicBezTo>
                      <a:pt x="123" y="30"/>
                      <a:pt x="121" y="33"/>
                      <a:pt x="119" y="36"/>
                    </a:cubicBezTo>
                    <a:cubicBezTo>
                      <a:pt x="118" y="36"/>
                      <a:pt x="118" y="36"/>
                      <a:pt x="118" y="36"/>
                    </a:cubicBezTo>
                    <a:cubicBezTo>
                      <a:pt x="115" y="29"/>
                      <a:pt x="109" y="26"/>
                      <a:pt x="99" y="26"/>
                    </a:cubicBezTo>
                    <a:cubicBezTo>
                      <a:pt x="95" y="26"/>
                      <a:pt x="91" y="27"/>
                      <a:pt x="88" y="28"/>
                    </a:cubicBezTo>
                    <a:cubicBezTo>
                      <a:pt x="85" y="30"/>
                      <a:pt x="82" y="32"/>
                      <a:pt x="80" y="35"/>
                    </a:cubicBezTo>
                    <a:cubicBezTo>
                      <a:pt x="80" y="35"/>
                      <a:pt x="80" y="35"/>
                      <a:pt x="80" y="35"/>
                    </a:cubicBezTo>
                    <a:cubicBezTo>
                      <a:pt x="78" y="27"/>
                      <a:pt x="78" y="27"/>
                      <a:pt x="78" y="27"/>
                    </a:cubicBezTo>
                    <a:cubicBezTo>
                      <a:pt x="71" y="27"/>
                      <a:pt x="71" y="27"/>
                      <a:pt x="71" y="27"/>
                    </a:cubicBezTo>
                    <a:cubicBezTo>
                      <a:pt x="71" y="90"/>
                      <a:pt x="71" y="90"/>
                      <a:pt x="71" y="90"/>
                    </a:cubicBezTo>
                    <a:cubicBezTo>
                      <a:pt x="80" y="90"/>
                      <a:pt x="80" y="90"/>
                      <a:pt x="80" y="90"/>
                    </a:cubicBezTo>
                    <a:cubicBezTo>
                      <a:pt x="80" y="57"/>
                      <a:pt x="80" y="57"/>
                      <a:pt x="80" y="57"/>
                    </a:cubicBezTo>
                    <a:cubicBezTo>
                      <a:pt x="80" y="49"/>
                      <a:pt x="82" y="43"/>
                      <a:pt x="84" y="39"/>
                    </a:cubicBezTo>
                    <a:cubicBezTo>
                      <a:pt x="87" y="36"/>
                      <a:pt x="91" y="34"/>
                      <a:pt x="97" y="34"/>
                    </a:cubicBezTo>
                    <a:cubicBezTo>
                      <a:pt x="102" y="34"/>
                      <a:pt x="105" y="35"/>
                      <a:pt x="108" y="38"/>
                    </a:cubicBezTo>
                    <a:cubicBezTo>
                      <a:pt x="110" y="40"/>
                      <a:pt x="111" y="44"/>
                      <a:pt x="111" y="49"/>
                    </a:cubicBezTo>
                    <a:cubicBezTo>
                      <a:pt x="111" y="90"/>
                      <a:pt x="111" y="90"/>
                      <a:pt x="111" y="90"/>
                    </a:cubicBezTo>
                    <a:cubicBezTo>
                      <a:pt x="120" y="90"/>
                      <a:pt x="120" y="90"/>
                      <a:pt x="120" y="90"/>
                    </a:cubicBezTo>
                    <a:cubicBezTo>
                      <a:pt x="120" y="55"/>
                      <a:pt x="120" y="55"/>
                      <a:pt x="120" y="55"/>
                    </a:cubicBezTo>
                    <a:cubicBezTo>
                      <a:pt x="120" y="48"/>
                      <a:pt x="122" y="42"/>
                      <a:pt x="125" y="39"/>
                    </a:cubicBezTo>
                    <a:cubicBezTo>
                      <a:pt x="127" y="35"/>
                      <a:pt x="132" y="34"/>
                      <a:pt x="138" y="34"/>
                    </a:cubicBezTo>
                    <a:cubicBezTo>
                      <a:pt x="142" y="34"/>
                      <a:pt x="146" y="35"/>
                      <a:pt x="148" y="38"/>
                    </a:cubicBezTo>
                    <a:cubicBezTo>
                      <a:pt x="150" y="40"/>
                      <a:pt x="151" y="44"/>
                      <a:pt x="151" y="49"/>
                    </a:cubicBezTo>
                    <a:cubicBezTo>
                      <a:pt x="151" y="90"/>
                      <a:pt x="151" y="90"/>
                      <a:pt x="151" y="90"/>
                    </a:cubicBezTo>
                    <a:lnTo>
                      <a:pt x="161" y="90"/>
                    </a:lnTo>
                    <a:close/>
                    <a:moveTo>
                      <a:pt x="48" y="53"/>
                    </a:moveTo>
                    <a:cubicBezTo>
                      <a:pt x="45" y="50"/>
                      <a:pt x="39" y="46"/>
                      <a:pt x="30" y="43"/>
                    </a:cubicBezTo>
                    <a:cubicBezTo>
                      <a:pt x="25" y="41"/>
                      <a:pt x="21" y="40"/>
                      <a:pt x="18" y="38"/>
                    </a:cubicBezTo>
                    <a:cubicBezTo>
                      <a:pt x="16" y="37"/>
                      <a:pt x="14" y="35"/>
                      <a:pt x="13" y="33"/>
                    </a:cubicBezTo>
                    <a:cubicBezTo>
                      <a:pt x="12" y="31"/>
                      <a:pt x="11" y="29"/>
                      <a:pt x="11" y="26"/>
                    </a:cubicBezTo>
                    <a:cubicBezTo>
                      <a:pt x="11" y="22"/>
                      <a:pt x="12" y="19"/>
                      <a:pt x="15" y="17"/>
                    </a:cubicBezTo>
                    <a:cubicBezTo>
                      <a:pt x="18" y="14"/>
                      <a:pt x="22" y="13"/>
                      <a:pt x="28" y="13"/>
                    </a:cubicBezTo>
                    <a:cubicBezTo>
                      <a:pt x="34" y="13"/>
                      <a:pt x="41" y="15"/>
                      <a:pt x="48" y="18"/>
                    </a:cubicBezTo>
                    <a:cubicBezTo>
                      <a:pt x="51" y="9"/>
                      <a:pt x="51" y="9"/>
                      <a:pt x="51" y="9"/>
                    </a:cubicBezTo>
                    <a:cubicBezTo>
                      <a:pt x="44" y="6"/>
                      <a:pt x="36" y="5"/>
                      <a:pt x="28" y="5"/>
                    </a:cubicBezTo>
                    <a:cubicBezTo>
                      <a:pt x="20" y="5"/>
                      <a:pt x="13" y="6"/>
                      <a:pt x="8" y="10"/>
                    </a:cubicBezTo>
                    <a:cubicBezTo>
                      <a:pt x="4" y="14"/>
                      <a:pt x="1" y="19"/>
                      <a:pt x="1" y="26"/>
                    </a:cubicBezTo>
                    <a:cubicBezTo>
                      <a:pt x="1" y="32"/>
                      <a:pt x="3" y="37"/>
                      <a:pt x="6" y="41"/>
                    </a:cubicBezTo>
                    <a:cubicBezTo>
                      <a:pt x="9" y="45"/>
                      <a:pt x="15" y="48"/>
                      <a:pt x="23" y="51"/>
                    </a:cubicBezTo>
                    <a:cubicBezTo>
                      <a:pt x="29" y="53"/>
                      <a:pt x="33" y="55"/>
                      <a:pt x="35" y="56"/>
                    </a:cubicBezTo>
                    <a:cubicBezTo>
                      <a:pt x="38" y="58"/>
                      <a:pt x="40" y="59"/>
                      <a:pt x="41" y="61"/>
                    </a:cubicBezTo>
                    <a:cubicBezTo>
                      <a:pt x="43" y="63"/>
                      <a:pt x="43" y="66"/>
                      <a:pt x="43" y="68"/>
                    </a:cubicBezTo>
                    <a:cubicBezTo>
                      <a:pt x="43" y="73"/>
                      <a:pt x="41" y="76"/>
                      <a:pt x="38" y="79"/>
                    </a:cubicBezTo>
                    <a:cubicBezTo>
                      <a:pt x="35" y="81"/>
                      <a:pt x="30" y="83"/>
                      <a:pt x="23" y="83"/>
                    </a:cubicBezTo>
                    <a:cubicBezTo>
                      <a:pt x="19" y="83"/>
                      <a:pt x="15" y="82"/>
                      <a:pt x="11" y="81"/>
                    </a:cubicBezTo>
                    <a:cubicBezTo>
                      <a:pt x="7" y="80"/>
                      <a:pt x="3" y="79"/>
                      <a:pt x="0" y="78"/>
                    </a:cubicBezTo>
                    <a:cubicBezTo>
                      <a:pt x="0" y="87"/>
                      <a:pt x="0" y="87"/>
                      <a:pt x="0" y="87"/>
                    </a:cubicBezTo>
                    <a:cubicBezTo>
                      <a:pt x="5" y="90"/>
                      <a:pt x="13" y="91"/>
                      <a:pt x="23" y="91"/>
                    </a:cubicBezTo>
                    <a:cubicBezTo>
                      <a:pt x="32" y="91"/>
                      <a:pt x="40" y="89"/>
                      <a:pt x="45" y="85"/>
                    </a:cubicBezTo>
                    <a:cubicBezTo>
                      <a:pt x="50" y="81"/>
                      <a:pt x="53" y="75"/>
                      <a:pt x="53" y="68"/>
                    </a:cubicBezTo>
                    <a:cubicBezTo>
                      <a:pt x="53" y="62"/>
                      <a:pt x="51" y="57"/>
                      <a:pt x="48" y="5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</p:grpSp>
      </p:grpSp>
      <p:sp>
        <p:nvSpPr>
          <p:cNvPr id="36" name="Shape 103">
            <a:extLst>
              <a:ext uri="{FF2B5EF4-FFF2-40B4-BE49-F238E27FC236}">
                <a16:creationId xmlns:a16="http://schemas.microsoft.com/office/drawing/2014/main" id="{164F5478-B36E-4CE0-817E-5C7FAF0E7F7C}"/>
              </a:ext>
            </a:extLst>
          </p:cNvPr>
          <p:cNvSpPr txBox="1"/>
          <p:nvPr userDrawn="1"/>
        </p:nvSpPr>
        <p:spPr bwMode="gray">
          <a:xfrm>
            <a:off x="540000" y="6498488"/>
            <a:ext cx="1593600" cy="21600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  <a:tabLst/>
              <a:defRPr/>
            </a:pPr>
            <a:r>
              <a:rPr lang="en-US" sz="900">
                <a:solidFill>
                  <a:schemeClr val="tx2">
                    <a:lumMod val="75000"/>
                  </a:schemeClr>
                </a:solidFill>
              </a:rPr>
              <a:t>© Copyright 2022 - m.Doc GmbH</a:t>
            </a:r>
            <a:endParaRPr lang="de-DE" sz="900">
              <a:solidFill>
                <a:schemeClr val="tx2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694259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&amp;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"/>
          <p:cNvSpPr>
            <a:spLocks noGrp="1"/>
          </p:cNvSpPr>
          <p:nvPr>
            <p:ph idx="1"/>
          </p:nvPr>
        </p:nvSpPr>
        <p:spPr bwMode="gray">
          <a:xfrm>
            <a:off x="540000" y="1512000"/>
            <a:ext cx="11109600" cy="42984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</p:txBody>
      </p:sp>
      <p:sp>
        <p:nvSpPr>
          <p:cNvPr id="7" name="Titel 6">
            <a:extLst>
              <a:ext uri="{FF2B5EF4-FFF2-40B4-BE49-F238E27FC236}">
                <a16:creationId xmlns:a16="http://schemas.microsoft.com/office/drawing/2014/main" id="{95719CB6-94D6-45D9-9EA3-C8FD631AED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540000" y="523874"/>
            <a:ext cx="11109600" cy="988125"/>
          </a:xfrm>
          <a:prstGeom prst="rect">
            <a:avLst/>
          </a:prstGeo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14" name="Untertitel">
            <a:extLst>
              <a:ext uri="{FF2B5EF4-FFF2-40B4-BE49-F238E27FC236}">
                <a16:creationId xmlns:a16="http://schemas.microsoft.com/office/drawing/2014/main" id="{80A08B67-2B0B-4FB3-98D0-D6BDBDF0DC2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40000" y="899999"/>
            <a:ext cx="11109600" cy="612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aseline="0">
                <a:solidFill>
                  <a:schemeClr val="accent5"/>
                </a:solidFill>
              </a:defRPr>
            </a:lvl1pPr>
          </a:lstStyle>
          <a:p>
            <a:r>
              <a:rPr lang="de-DE" noProof="0"/>
              <a:t>Geben Sie Ihren Untertitel ein</a:t>
            </a:r>
          </a:p>
        </p:txBody>
      </p:sp>
      <p:sp>
        <p:nvSpPr>
          <p:cNvPr id="6" name="Foliennummer">
            <a:extLst>
              <a:ext uri="{FF2B5EF4-FFF2-40B4-BE49-F238E27FC236}">
                <a16:creationId xmlns:a16="http://schemas.microsoft.com/office/drawing/2014/main" id="{3A4385F0-F438-42F4-871A-F3E185A1472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11181600" y="6277176"/>
            <a:ext cx="468000" cy="216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lang="de-DE" sz="1000" b="1" kern="1200" smtClean="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1pPr>
          </a:lstStyle>
          <a:p>
            <a:fld id="{02CEFE82-39F2-4F47-8A0C-D5AB3496FA5C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080E5B02-5D31-469A-BD07-7CAFAA0F22A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540000" y="6277176"/>
            <a:ext cx="4633980" cy="216000"/>
          </a:xfrm>
          <a:prstGeom prst="rect">
            <a:avLst/>
          </a:prstGeom>
        </p:spPr>
        <p:txBody>
          <a:bodyPr lIns="0" tIns="0" rIns="0" bIns="0" anchor="b" anchorCtr="0"/>
          <a:lstStyle>
            <a:lvl1pPr>
              <a:defRPr sz="1000"/>
            </a:lvl1pPr>
          </a:lstStyle>
          <a:p>
            <a:r>
              <a:rPr lang="de-DE"/>
              <a:t>Smart Clinic – Auf dem Weg zum digitalen Vorreiter</a:t>
            </a:r>
          </a:p>
        </p:txBody>
      </p:sp>
      <p:sp>
        <p:nvSpPr>
          <p:cNvPr id="9" name="Datum">
            <a:extLst>
              <a:ext uri="{FF2B5EF4-FFF2-40B4-BE49-F238E27FC236}">
                <a16:creationId xmlns:a16="http://schemas.microsoft.com/office/drawing/2014/main" id="{62262E5E-9011-4A9A-A8A2-F86C58BACDBD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5375206" y="6277176"/>
            <a:ext cx="1440000" cy="216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>
              <a:defRPr sz="1000">
                <a:solidFill>
                  <a:schemeClr val="tx1"/>
                </a:solidFill>
              </a:defRPr>
            </a:lvl1pPr>
          </a:lstStyle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971205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spd="slow">
        <p:split orient="vert"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&amp; INHALT ZWEISPALT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540000" y="523874"/>
            <a:ext cx="11109600" cy="988125"/>
          </a:xfrm>
          <a:prstGeom prst="rect">
            <a:avLst/>
          </a:prstGeom>
        </p:spPr>
        <p:txBody>
          <a:bodyPr/>
          <a:lstStyle/>
          <a:p>
            <a:r>
              <a:rPr lang="de-CH" noProof="0"/>
              <a:t>Titelmasterformat durch Klicken bearbeiten</a:t>
            </a:r>
          </a:p>
        </p:txBody>
      </p:sp>
      <p:sp>
        <p:nvSpPr>
          <p:cNvPr id="7" name="Inhalt 1">
            <a:extLst>
              <a:ext uri="{FF2B5EF4-FFF2-40B4-BE49-F238E27FC236}">
                <a16:creationId xmlns:a16="http://schemas.microsoft.com/office/drawing/2014/main" id="{D2C6AA04-3B7E-428A-8FBC-E6CA25C0D577}"/>
              </a:ext>
            </a:extLst>
          </p:cNvPr>
          <p:cNvSpPr>
            <a:spLocks noGrp="1"/>
          </p:cNvSpPr>
          <p:nvPr>
            <p:ph sz="half" idx="1"/>
          </p:nvPr>
        </p:nvSpPr>
        <p:spPr bwMode="gray">
          <a:xfrm>
            <a:off x="540000" y="1512000"/>
            <a:ext cx="5338800" cy="4298400"/>
          </a:xfrm>
          <a:prstGeom prst="rect">
            <a:avLst/>
          </a:prstGeom>
        </p:spPr>
        <p:txBody>
          <a:bodyPr/>
          <a:lstStyle>
            <a:lvl1pPr>
              <a:defRPr sz="1800" b="0">
                <a:latin typeface="+mn-lt"/>
              </a:defRPr>
            </a:lvl1pPr>
            <a:lvl2pPr>
              <a:defRPr sz="1600" b="0">
                <a:latin typeface="+mn-lt"/>
              </a:defRPr>
            </a:lvl2pPr>
            <a:lvl3pPr>
              <a:defRPr sz="1400" b="0">
                <a:latin typeface="+mn-lt"/>
              </a:defRPr>
            </a:lvl3pPr>
            <a:lvl4pPr>
              <a:defRPr sz="1200" b="0">
                <a:latin typeface="+mn-lt"/>
              </a:defRPr>
            </a:lvl4pPr>
            <a:lvl5pPr>
              <a:defRPr sz="1200">
                <a:latin typeface="+mn-lt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</p:txBody>
      </p:sp>
      <p:sp>
        <p:nvSpPr>
          <p:cNvPr id="10" name="Inhalt 1">
            <a:extLst>
              <a:ext uri="{FF2B5EF4-FFF2-40B4-BE49-F238E27FC236}">
                <a16:creationId xmlns:a16="http://schemas.microsoft.com/office/drawing/2014/main" id="{3A05AB22-38CA-43D2-B899-9EAE8EE39231}"/>
              </a:ext>
            </a:extLst>
          </p:cNvPr>
          <p:cNvSpPr>
            <a:spLocks noGrp="1"/>
          </p:cNvSpPr>
          <p:nvPr>
            <p:ph sz="half" idx="10"/>
          </p:nvPr>
        </p:nvSpPr>
        <p:spPr bwMode="gray">
          <a:xfrm>
            <a:off x="6310800" y="1512000"/>
            <a:ext cx="5338800" cy="4298400"/>
          </a:xfrm>
          <a:prstGeom prst="rect">
            <a:avLst/>
          </a:prstGeom>
        </p:spPr>
        <p:txBody>
          <a:bodyPr/>
          <a:lstStyle>
            <a:lvl1pPr>
              <a:defRPr sz="1800" b="0">
                <a:latin typeface="+mn-lt"/>
              </a:defRPr>
            </a:lvl1pPr>
            <a:lvl2pPr>
              <a:defRPr sz="1600" b="0">
                <a:latin typeface="+mn-lt"/>
              </a:defRPr>
            </a:lvl2pPr>
            <a:lvl3pPr>
              <a:defRPr sz="1400" b="0">
                <a:latin typeface="+mn-lt"/>
              </a:defRPr>
            </a:lvl3pPr>
            <a:lvl4pPr>
              <a:defRPr sz="1200" b="0">
                <a:latin typeface="+mn-lt"/>
              </a:defRPr>
            </a:lvl4pPr>
            <a:lvl5pPr>
              <a:defRPr sz="1200">
                <a:latin typeface="+mn-lt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</p:txBody>
      </p:sp>
      <p:sp>
        <p:nvSpPr>
          <p:cNvPr id="11" name="Foliennummer">
            <a:extLst>
              <a:ext uri="{FF2B5EF4-FFF2-40B4-BE49-F238E27FC236}">
                <a16:creationId xmlns:a16="http://schemas.microsoft.com/office/drawing/2014/main" id="{EE94E4CD-D99E-4BFE-BC0D-2C02C33E3C8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11181600" y="6277176"/>
            <a:ext cx="468000" cy="216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lang="de-DE" sz="1000" b="1" kern="1200" smtClean="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1pPr>
          </a:lstStyle>
          <a:p>
            <a:fld id="{02CEFE82-39F2-4F47-8A0C-D5AB3496FA5C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2" name="Fußzeilenplatzhalter 7">
            <a:extLst>
              <a:ext uri="{FF2B5EF4-FFF2-40B4-BE49-F238E27FC236}">
                <a16:creationId xmlns:a16="http://schemas.microsoft.com/office/drawing/2014/main" id="{5C2D339B-AD53-4F65-A58B-AF2FCE483EB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540000" y="6277176"/>
            <a:ext cx="4633980" cy="216000"/>
          </a:xfrm>
          <a:prstGeom prst="rect">
            <a:avLst/>
          </a:prstGeom>
        </p:spPr>
        <p:txBody>
          <a:bodyPr lIns="0" tIns="0" rIns="0" bIns="0" anchor="b" anchorCtr="0"/>
          <a:lstStyle>
            <a:lvl1pPr>
              <a:defRPr sz="1000"/>
            </a:lvl1pPr>
          </a:lstStyle>
          <a:p>
            <a:r>
              <a:rPr lang="de-DE"/>
              <a:t>Smart Clinic – Auf dem Weg zum digitalen Vorreiter</a:t>
            </a:r>
          </a:p>
        </p:txBody>
      </p:sp>
      <p:sp>
        <p:nvSpPr>
          <p:cNvPr id="13" name="Datum">
            <a:extLst>
              <a:ext uri="{FF2B5EF4-FFF2-40B4-BE49-F238E27FC236}">
                <a16:creationId xmlns:a16="http://schemas.microsoft.com/office/drawing/2014/main" id="{201A6FBE-EA85-47F9-B1FC-43A8AD427698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5375206" y="6277176"/>
            <a:ext cx="1440000" cy="216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>
              <a:defRPr sz="1000">
                <a:solidFill>
                  <a:schemeClr val="tx1"/>
                </a:solidFill>
              </a:defRPr>
            </a:lvl1pPr>
          </a:lstStyle>
          <a:p>
            <a:endParaRPr lang="de-DE"/>
          </a:p>
        </p:txBody>
      </p:sp>
      <p:sp>
        <p:nvSpPr>
          <p:cNvPr id="8" name="Untertitel">
            <a:extLst>
              <a:ext uri="{FF2B5EF4-FFF2-40B4-BE49-F238E27FC236}">
                <a16:creationId xmlns:a16="http://schemas.microsoft.com/office/drawing/2014/main" id="{412F4CB9-5715-43DE-8C89-2FC68C279D1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40000" y="899999"/>
            <a:ext cx="11109600" cy="612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aseline="0">
                <a:solidFill>
                  <a:schemeClr val="accent5"/>
                </a:solidFill>
              </a:defRPr>
            </a:lvl1pPr>
          </a:lstStyle>
          <a:p>
            <a:r>
              <a:rPr lang="de-DE" noProof="0"/>
              <a:t>Geben Sie Ihren Untertitel ein</a:t>
            </a:r>
          </a:p>
        </p:txBody>
      </p:sp>
    </p:spTree>
    <p:extLst>
      <p:ext uri="{BB962C8B-B14F-4D97-AF65-F5344CB8AC3E}">
        <p14:creationId xmlns:p14="http://schemas.microsoft.com/office/powerpoint/2010/main" val="4999850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spd="slow">
        <p:split orient="vert"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&amp; INHALT DREISPALT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540000" y="523874"/>
            <a:ext cx="11109600" cy="988125"/>
          </a:xfrm>
          <a:prstGeom prst="rect">
            <a:avLst/>
          </a:prstGeom>
        </p:spPr>
        <p:txBody>
          <a:bodyPr/>
          <a:lstStyle/>
          <a:p>
            <a:r>
              <a:rPr lang="de-CH" noProof="0"/>
              <a:t>Titelmasterformat durch Klicken bearbeiten</a:t>
            </a:r>
          </a:p>
        </p:txBody>
      </p:sp>
      <p:sp>
        <p:nvSpPr>
          <p:cNvPr id="13" name="Inhalt 1">
            <a:extLst>
              <a:ext uri="{FF2B5EF4-FFF2-40B4-BE49-F238E27FC236}">
                <a16:creationId xmlns:a16="http://schemas.microsoft.com/office/drawing/2014/main" id="{6419A45B-9E19-4493-8011-569588192810}"/>
              </a:ext>
            </a:extLst>
          </p:cNvPr>
          <p:cNvSpPr>
            <a:spLocks noGrp="1"/>
          </p:cNvSpPr>
          <p:nvPr>
            <p:ph sz="half" idx="15"/>
          </p:nvPr>
        </p:nvSpPr>
        <p:spPr bwMode="gray">
          <a:xfrm>
            <a:off x="540000" y="1512000"/>
            <a:ext cx="3416400" cy="4298400"/>
          </a:xfrm>
          <a:prstGeom prst="rect">
            <a:avLst/>
          </a:prstGeom>
        </p:spPr>
        <p:txBody>
          <a:bodyPr/>
          <a:lstStyle>
            <a:lvl1pPr>
              <a:defRPr sz="1800" b="0">
                <a:latin typeface="+mn-lt"/>
              </a:defRPr>
            </a:lvl1pPr>
            <a:lvl2pPr>
              <a:defRPr sz="1600" b="0">
                <a:latin typeface="+mn-lt"/>
              </a:defRPr>
            </a:lvl2pPr>
            <a:lvl3pPr>
              <a:defRPr sz="1400" b="0">
                <a:latin typeface="+mn-lt"/>
              </a:defRPr>
            </a:lvl3pPr>
            <a:lvl4pPr>
              <a:defRPr sz="1200" b="0">
                <a:latin typeface="+mn-lt"/>
              </a:defRPr>
            </a:lvl4pPr>
            <a:lvl5pPr>
              <a:defRPr sz="1200">
                <a:latin typeface="+mn-lt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</p:txBody>
      </p:sp>
      <p:sp>
        <p:nvSpPr>
          <p:cNvPr id="14" name="Inhalt 1">
            <a:extLst>
              <a:ext uri="{FF2B5EF4-FFF2-40B4-BE49-F238E27FC236}">
                <a16:creationId xmlns:a16="http://schemas.microsoft.com/office/drawing/2014/main" id="{3F70F7D3-14BC-41F3-B4A1-8A552D308CB9}"/>
              </a:ext>
            </a:extLst>
          </p:cNvPr>
          <p:cNvSpPr>
            <a:spLocks noGrp="1"/>
          </p:cNvSpPr>
          <p:nvPr>
            <p:ph sz="half" idx="16"/>
          </p:nvPr>
        </p:nvSpPr>
        <p:spPr bwMode="gray">
          <a:xfrm>
            <a:off x="8233200" y="1512000"/>
            <a:ext cx="3416400" cy="4298400"/>
          </a:xfrm>
          <a:prstGeom prst="rect">
            <a:avLst/>
          </a:prstGeom>
        </p:spPr>
        <p:txBody>
          <a:bodyPr/>
          <a:lstStyle>
            <a:lvl1pPr>
              <a:defRPr sz="1800" b="0">
                <a:latin typeface="+mn-lt"/>
              </a:defRPr>
            </a:lvl1pPr>
            <a:lvl2pPr>
              <a:defRPr sz="1600" b="0">
                <a:latin typeface="+mn-lt"/>
              </a:defRPr>
            </a:lvl2pPr>
            <a:lvl3pPr>
              <a:defRPr sz="1400" b="0">
                <a:latin typeface="+mn-lt"/>
              </a:defRPr>
            </a:lvl3pPr>
            <a:lvl4pPr>
              <a:defRPr sz="1200" b="0">
                <a:latin typeface="+mn-lt"/>
              </a:defRPr>
            </a:lvl4pPr>
            <a:lvl5pPr>
              <a:defRPr sz="1200">
                <a:latin typeface="+mn-lt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</p:txBody>
      </p:sp>
      <p:sp>
        <p:nvSpPr>
          <p:cNvPr id="15" name="Inhalt 1">
            <a:extLst>
              <a:ext uri="{FF2B5EF4-FFF2-40B4-BE49-F238E27FC236}">
                <a16:creationId xmlns:a16="http://schemas.microsoft.com/office/drawing/2014/main" id="{F4D3916C-BFE4-4A35-A0D7-657B4B6888F3}"/>
              </a:ext>
            </a:extLst>
          </p:cNvPr>
          <p:cNvSpPr>
            <a:spLocks noGrp="1"/>
          </p:cNvSpPr>
          <p:nvPr>
            <p:ph sz="half" idx="17"/>
          </p:nvPr>
        </p:nvSpPr>
        <p:spPr bwMode="gray">
          <a:xfrm>
            <a:off x="4386600" y="1512000"/>
            <a:ext cx="3416400" cy="4298400"/>
          </a:xfrm>
          <a:prstGeom prst="rect">
            <a:avLst/>
          </a:prstGeom>
        </p:spPr>
        <p:txBody>
          <a:bodyPr/>
          <a:lstStyle>
            <a:lvl1pPr>
              <a:defRPr sz="1800" b="0">
                <a:latin typeface="+mn-lt"/>
              </a:defRPr>
            </a:lvl1pPr>
            <a:lvl2pPr>
              <a:defRPr sz="1600" b="0">
                <a:latin typeface="+mn-lt"/>
              </a:defRPr>
            </a:lvl2pPr>
            <a:lvl3pPr>
              <a:defRPr sz="1400" b="0">
                <a:latin typeface="+mn-lt"/>
              </a:defRPr>
            </a:lvl3pPr>
            <a:lvl4pPr>
              <a:defRPr sz="1200" b="0">
                <a:latin typeface="+mn-lt"/>
              </a:defRPr>
            </a:lvl4pPr>
            <a:lvl5pPr>
              <a:defRPr sz="1200">
                <a:latin typeface="+mn-lt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</p:txBody>
      </p:sp>
      <p:sp>
        <p:nvSpPr>
          <p:cNvPr id="16" name="Foliennummer">
            <a:extLst>
              <a:ext uri="{FF2B5EF4-FFF2-40B4-BE49-F238E27FC236}">
                <a16:creationId xmlns:a16="http://schemas.microsoft.com/office/drawing/2014/main" id="{819F25FE-1E17-4443-8C30-324E9B5D7B1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11181600" y="6277176"/>
            <a:ext cx="468000" cy="216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lang="de-DE" sz="1000" b="1" kern="1200" smtClean="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1pPr>
          </a:lstStyle>
          <a:p>
            <a:fld id="{02CEFE82-39F2-4F47-8A0C-D5AB3496FA5C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7" name="Fußzeilenplatzhalter 7">
            <a:extLst>
              <a:ext uri="{FF2B5EF4-FFF2-40B4-BE49-F238E27FC236}">
                <a16:creationId xmlns:a16="http://schemas.microsoft.com/office/drawing/2014/main" id="{92F7D8EB-813B-48F2-ACAB-3DC7FD4C36E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540000" y="6277176"/>
            <a:ext cx="4633980" cy="216000"/>
          </a:xfrm>
          <a:prstGeom prst="rect">
            <a:avLst/>
          </a:prstGeom>
        </p:spPr>
        <p:txBody>
          <a:bodyPr lIns="0" tIns="0" rIns="0" bIns="0" anchor="b" anchorCtr="0"/>
          <a:lstStyle>
            <a:lvl1pPr>
              <a:defRPr sz="1000"/>
            </a:lvl1pPr>
          </a:lstStyle>
          <a:p>
            <a:r>
              <a:rPr lang="de-DE"/>
              <a:t>Smart Clinic – Auf dem Weg zum digitalen Vorreiter</a:t>
            </a:r>
          </a:p>
        </p:txBody>
      </p:sp>
      <p:sp>
        <p:nvSpPr>
          <p:cNvPr id="18" name="Datum">
            <a:extLst>
              <a:ext uri="{FF2B5EF4-FFF2-40B4-BE49-F238E27FC236}">
                <a16:creationId xmlns:a16="http://schemas.microsoft.com/office/drawing/2014/main" id="{AA74C73A-3099-480B-B1C7-2CC7A1BD0BF4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5375206" y="6277176"/>
            <a:ext cx="1440000" cy="216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>
              <a:defRPr sz="1000">
                <a:solidFill>
                  <a:schemeClr val="tx1"/>
                </a:solidFill>
              </a:defRPr>
            </a:lvl1pPr>
          </a:lstStyle>
          <a:p>
            <a:endParaRPr lang="de-DE"/>
          </a:p>
        </p:txBody>
      </p:sp>
      <p:sp>
        <p:nvSpPr>
          <p:cNvPr id="9" name="Untertitel">
            <a:extLst>
              <a:ext uri="{FF2B5EF4-FFF2-40B4-BE49-F238E27FC236}">
                <a16:creationId xmlns:a16="http://schemas.microsoft.com/office/drawing/2014/main" id="{A6991B73-AC31-4C5A-AAE7-974A0617C17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40000" y="899999"/>
            <a:ext cx="11109600" cy="612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aseline="0">
                <a:solidFill>
                  <a:schemeClr val="accent5"/>
                </a:solidFill>
              </a:defRPr>
            </a:lvl1pPr>
          </a:lstStyle>
          <a:p>
            <a:r>
              <a:rPr lang="de-DE" noProof="0"/>
              <a:t>Geben Sie Ihren Untertitel ein</a:t>
            </a:r>
          </a:p>
        </p:txBody>
      </p:sp>
    </p:spTree>
    <p:extLst>
      <p:ext uri="{BB962C8B-B14F-4D97-AF65-F5344CB8AC3E}">
        <p14:creationId xmlns:p14="http://schemas.microsoft.com/office/powerpoint/2010/main" val="38464110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spd="slow">
        <p:split orient="vert"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>
            <a:extLst>
              <a:ext uri="{FF2B5EF4-FFF2-40B4-BE49-F238E27FC236}">
                <a16:creationId xmlns:a16="http://schemas.microsoft.com/office/drawing/2014/main" id="{815185A2-D371-4ABD-B99C-CC10E1FC7C34}"/>
              </a:ext>
            </a:extLst>
          </p:cNvPr>
          <p:cNvSpPr/>
          <p:nvPr userDrawn="1"/>
        </p:nvSpPr>
        <p:spPr bwMode="gray">
          <a:xfrm>
            <a:off x="0" y="0"/>
            <a:ext cx="12190413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endParaRPr lang="de-DE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6AB87E20-FDD4-4660-A016-13D3DA865E2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397788" y="4186238"/>
            <a:ext cx="1644319" cy="257250"/>
          </a:xfrm>
          <a:prstGeom prst="rect">
            <a:avLst/>
          </a:prstGeom>
        </p:spPr>
        <p:txBody>
          <a:bodyPr anchor="ctr" anchorCtr="0">
            <a:spAutoFit/>
          </a:bodyPr>
          <a:lstStyle>
            <a:lvl1pPr marL="0" indent="0" algn="ctr">
              <a:buNone/>
              <a:defRPr sz="1600" b="1"/>
            </a:lvl1pPr>
          </a:lstStyle>
          <a:p>
            <a:pPr lvl="0"/>
            <a:r>
              <a:rPr lang="de-DE" err="1"/>
              <a:t>m.Doc</a:t>
            </a:r>
            <a:r>
              <a:rPr lang="de-DE"/>
              <a:t> GmbH</a:t>
            </a:r>
          </a:p>
        </p:txBody>
      </p:sp>
      <p:sp>
        <p:nvSpPr>
          <p:cNvPr id="57" name="Untertitel 2">
            <a:extLst>
              <a:ext uri="{FF2B5EF4-FFF2-40B4-BE49-F238E27FC236}">
                <a16:creationId xmlns:a16="http://schemas.microsoft.com/office/drawing/2014/main" id="{10ED6EED-979B-4882-8B42-38F4A6CA792C}"/>
              </a:ext>
            </a:extLst>
          </p:cNvPr>
          <p:cNvSpPr>
            <a:spLocks noGrp="1"/>
          </p:cNvSpPr>
          <p:nvPr>
            <p:ph type="subTitle" idx="1"/>
          </p:nvPr>
        </p:nvSpPr>
        <p:spPr bwMode="gray">
          <a:xfrm>
            <a:off x="1397788" y="2540169"/>
            <a:ext cx="4979454" cy="465137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lnSpc>
                <a:spcPct val="100000"/>
              </a:lnSpc>
              <a:buNone/>
              <a:defRPr sz="2000">
                <a:solidFill>
                  <a:schemeClr val="tx1"/>
                </a:solidFill>
              </a:defRPr>
            </a:lvl1pPr>
            <a:lvl2pPr marL="457154" indent="0" algn="ctr">
              <a:buNone/>
              <a:defRPr sz="2000"/>
            </a:lvl2pPr>
            <a:lvl3pPr marL="914309" indent="0" algn="ctr">
              <a:buNone/>
              <a:defRPr sz="1800"/>
            </a:lvl3pPr>
            <a:lvl4pPr marL="1371463" indent="0" algn="ctr">
              <a:buNone/>
              <a:defRPr sz="1600"/>
            </a:lvl4pPr>
            <a:lvl5pPr marL="1828617" indent="0" algn="ctr">
              <a:buNone/>
              <a:defRPr sz="1600"/>
            </a:lvl5pPr>
            <a:lvl6pPr marL="2285771" indent="0" algn="ctr">
              <a:buNone/>
              <a:defRPr sz="1600"/>
            </a:lvl6pPr>
            <a:lvl7pPr marL="2742926" indent="0" algn="ctr">
              <a:buNone/>
              <a:defRPr sz="1600"/>
            </a:lvl7pPr>
            <a:lvl8pPr marL="3200080" indent="0" algn="ctr">
              <a:buNone/>
              <a:defRPr sz="1600"/>
            </a:lvl8pPr>
            <a:lvl9pPr marL="3657234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</a:p>
        </p:txBody>
      </p:sp>
      <p:sp>
        <p:nvSpPr>
          <p:cNvPr id="34" name="Freihandform: Form 33">
            <a:extLst>
              <a:ext uri="{FF2B5EF4-FFF2-40B4-BE49-F238E27FC236}">
                <a16:creationId xmlns:a16="http://schemas.microsoft.com/office/drawing/2014/main" id="{D9B6F6EB-02CE-4F82-8BDF-4DA09A6490D4}"/>
              </a:ext>
            </a:extLst>
          </p:cNvPr>
          <p:cNvSpPr>
            <a:spLocks noChangeAspect="1"/>
          </p:cNvSpPr>
          <p:nvPr userDrawn="1"/>
        </p:nvSpPr>
        <p:spPr bwMode="gray">
          <a:xfrm flipH="1">
            <a:off x="8046376" y="0"/>
            <a:ext cx="4144037" cy="6858000"/>
          </a:xfrm>
          <a:custGeom>
            <a:avLst/>
            <a:gdLst>
              <a:gd name="connsiteX0" fmla="*/ 4144037 w 4144037"/>
              <a:gd name="connsiteY0" fmla="*/ 0 h 6858000"/>
              <a:gd name="connsiteX1" fmla="*/ 0 w 4144037"/>
              <a:gd name="connsiteY1" fmla="*/ 0 h 6858000"/>
              <a:gd name="connsiteX2" fmla="*/ 0 w 4144037"/>
              <a:gd name="connsiteY2" fmla="*/ 6858000 h 6858000"/>
              <a:gd name="connsiteX3" fmla="*/ 2815051 w 4144037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144037" h="6858000">
                <a:moveTo>
                  <a:pt x="4144037" y="0"/>
                </a:moveTo>
                <a:lnTo>
                  <a:pt x="0" y="0"/>
                </a:lnTo>
                <a:lnTo>
                  <a:pt x="0" y="6858000"/>
                </a:lnTo>
                <a:lnTo>
                  <a:pt x="2815051" y="685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noAutofit/>
          </a:bodyPr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endParaRPr lang="de-DE"/>
          </a:p>
        </p:txBody>
      </p:sp>
      <p:grpSp>
        <p:nvGrpSpPr>
          <p:cNvPr id="39" name="Gruppieren 38">
            <a:extLst>
              <a:ext uri="{FF2B5EF4-FFF2-40B4-BE49-F238E27FC236}">
                <a16:creationId xmlns:a16="http://schemas.microsoft.com/office/drawing/2014/main" id="{01815DA6-609A-4CC6-9828-59A5A2361CD1}"/>
              </a:ext>
            </a:extLst>
          </p:cNvPr>
          <p:cNvGrpSpPr>
            <a:grpSpLocks noChangeAspect="1"/>
          </p:cNvGrpSpPr>
          <p:nvPr userDrawn="1"/>
        </p:nvGrpSpPr>
        <p:grpSpPr bwMode="gray">
          <a:xfrm>
            <a:off x="0" y="1655434"/>
            <a:ext cx="552451" cy="431801"/>
            <a:chOff x="1009650" y="6149976"/>
            <a:chExt cx="552451" cy="431800"/>
          </a:xfrm>
          <a:solidFill>
            <a:schemeClr val="accent1"/>
          </a:solidFill>
        </p:grpSpPr>
        <p:sp>
          <p:nvSpPr>
            <p:cNvPr id="40" name="Rectangle 5">
              <a:extLst>
                <a:ext uri="{FF2B5EF4-FFF2-40B4-BE49-F238E27FC236}">
                  <a16:creationId xmlns:a16="http://schemas.microsoft.com/office/drawing/2014/main" id="{56D9FE76-08F7-4B10-AC13-6AAD2DE44FFF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1501775" y="6149976"/>
              <a:ext cx="60325" cy="603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1" name="Rectangle 6">
              <a:extLst>
                <a:ext uri="{FF2B5EF4-FFF2-40B4-BE49-F238E27FC236}">
                  <a16:creationId xmlns:a16="http://schemas.microsoft.com/office/drawing/2014/main" id="{D3ADE39E-D4D4-4E12-8C2D-0A8B82873266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1255713" y="6149976"/>
              <a:ext cx="60325" cy="603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2" name="Freeform 7">
              <a:extLst>
                <a:ext uri="{FF2B5EF4-FFF2-40B4-BE49-F238E27FC236}">
                  <a16:creationId xmlns:a16="http://schemas.microsoft.com/office/drawing/2014/main" id="{65463336-5647-4AAD-AE9A-5FDB534DB598}"/>
                </a:ext>
              </a:extLst>
            </p:cNvPr>
            <p:cNvSpPr>
              <a:spLocks noEditPoints="1"/>
            </p:cNvSpPr>
            <p:nvPr userDrawn="1"/>
          </p:nvSpPr>
          <p:spPr bwMode="gray">
            <a:xfrm>
              <a:off x="1009650" y="6149976"/>
              <a:ext cx="430213" cy="431800"/>
            </a:xfrm>
            <a:custGeom>
              <a:avLst/>
              <a:gdLst>
                <a:gd name="T0" fmla="*/ 271 w 271"/>
                <a:gd name="T1" fmla="*/ 77 h 272"/>
                <a:gd name="T2" fmla="*/ 271 w 271"/>
                <a:gd name="T3" fmla="*/ 38 h 272"/>
                <a:gd name="T4" fmla="*/ 193 w 271"/>
                <a:gd name="T5" fmla="*/ 38 h 272"/>
                <a:gd name="T6" fmla="*/ 193 w 271"/>
                <a:gd name="T7" fmla="*/ 77 h 272"/>
                <a:gd name="T8" fmla="*/ 155 w 271"/>
                <a:gd name="T9" fmla="*/ 77 h 272"/>
                <a:gd name="T10" fmla="*/ 155 w 271"/>
                <a:gd name="T11" fmla="*/ 38 h 272"/>
                <a:gd name="T12" fmla="*/ 116 w 271"/>
                <a:gd name="T13" fmla="*/ 38 h 272"/>
                <a:gd name="T14" fmla="*/ 116 w 271"/>
                <a:gd name="T15" fmla="*/ 0 h 272"/>
                <a:gd name="T16" fmla="*/ 0 w 271"/>
                <a:gd name="T17" fmla="*/ 0 h 272"/>
                <a:gd name="T18" fmla="*/ 0 w 271"/>
                <a:gd name="T19" fmla="*/ 38 h 272"/>
                <a:gd name="T20" fmla="*/ 38 w 271"/>
                <a:gd name="T21" fmla="*/ 38 h 272"/>
                <a:gd name="T22" fmla="*/ 38 w 271"/>
                <a:gd name="T23" fmla="*/ 77 h 272"/>
                <a:gd name="T24" fmla="*/ 0 w 271"/>
                <a:gd name="T25" fmla="*/ 77 h 272"/>
                <a:gd name="T26" fmla="*/ 0 w 271"/>
                <a:gd name="T27" fmla="*/ 272 h 272"/>
                <a:gd name="T28" fmla="*/ 77 w 271"/>
                <a:gd name="T29" fmla="*/ 272 h 272"/>
                <a:gd name="T30" fmla="*/ 77 w 271"/>
                <a:gd name="T31" fmla="*/ 233 h 272"/>
                <a:gd name="T32" fmla="*/ 116 w 271"/>
                <a:gd name="T33" fmla="*/ 233 h 272"/>
                <a:gd name="T34" fmla="*/ 116 w 271"/>
                <a:gd name="T35" fmla="*/ 272 h 272"/>
                <a:gd name="T36" fmla="*/ 155 w 271"/>
                <a:gd name="T37" fmla="*/ 272 h 272"/>
                <a:gd name="T38" fmla="*/ 155 w 271"/>
                <a:gd name="T39" fmla="*/ 193 h 272"/>
                <a:gd name="T40" fmla="*/ 116 w 271"/>
                <a:gd name="T41" fmla="*/ 193 h 272"/>
                <a:gd name="T42" fmla="*/ 116 w 271"/>
                <a:gd name="T43" fmla="*/ 155 h 272"/>
                <a:gd name="T44" fmla="*/ 155 w 271"/>
                <a:gd name="T45" fmla="*/ 155 h 272"/>
                <a:gd name="T46" fmla="*/ 155 w 271"/>
                <a:gd name="T47" fmla="*/ 116 h 272"/>
                <a:gd name="T48" fmla="*/ 193 w 271"/>
                <a:gd name="T49" fmla="*/ 116 h 272"/>
                <a:gd name="T50" fmla="*/ 193 w 271"/>
                <a:gd name="T51" fmla="*/ 155 h 272"/>
                <a:gd name="T52" fmla="*/ 155 w 271"/>
                <a:gd name="T53" fmla="*/ 155 h 272"/>
                <a:gd name="T54" fmla="*/ 155 w 271"/>
                <a:gd name="T55" fmla="*/ 193 h 272"/>
                <a:gd name="T56" fmla="*/ 232 w 271"/>
                <a:gd name="T57" fmla="*/ 193 h 272"/>
                <a:gd name="T58" fmla="*/ 232 w 271"/>
                <a:gd name="T59" fmla="*/ 155 h 272"/>
                <a:gd name="T60" fmla="*/ 271 w 271"/>
                <a:gd name="T61" fmla="*/ 155 h 272"/>
                <a:gd name="T62" fmla="*/ 271 w 271"/>
                <a:gd name="T63" fmla="*/ 116 h 272"/>
                <a:gd name="T64" fmla="*/ 232 w 271"/>
                <a:gd name="T65" fmla="*/ 116 h 272"/>
                <a:gd name="T66" fmla="*/ 232 w 271"/>
                <a:gd name="T67" fmla="*/ 77 h 272"/>
                <a:gd name="T68" fmla="*/ 271 w 271"/>
                <a:gd name="T69" fmla="*/ 77 h 272"/>
                <a:gd name="T70" fmla="*/ 77 w 271"/>
                <a:gd name="T71" fmla="*/ 193 h 272"/>
                <a:gd name="T72" fmla="*/ 38 w 271"/>
                <a:gd name="T73" fmla="*/ 193 h 272"/>
                <a:gd name="T74" fmla="*/ 38 w 271"/>
                <a:gd name="T75" fmla="*/ 155 h 272"/>
                <a:gd name="T76" fmla="*/ 77 w 271"/>
                <a:gd name="T77" fmla="*/ 155 h 272"/>
                <a:gd name="T78" fmla="*/ 77 w 271"/>
                <a:gd name="T79" fmla="*/ 193 h 272"/>
                <a:gd name="T80" fmla="*/ 116 w 271"/>
                <a:gd name="T81" fmla="*/ 116 h 272"/>
                <a:gd name="T82" fmla="*/ 77 w 271"/>
                <a:gd name="T83" fmla="*/ 116 h 272"/>
                <a:gd name="T84" fmla="*/ 77 w 271"/>
                <a:gd name="T85" fmla="*/ 77 h 272"/>
                <a:gd name="T86" fmla="*/ 116 w 271"/>
                <a:gd name="T87" fmla="*/ 77 h 272"/>
                <a:gd name="T88" fmla="*/ 116 w 271"/>
                <a:gd name="T89" fmla="*/ 116 h 2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271" h="272">
                  <a:moveTo>
                    <a:pt x="271" y="77"/>
                  </a:moveTo>
                  <a:lnTo>
                    <a:pt x="271" y="38"/>
                  </a:lnTo>
                  <a:lnTo>
                    <a:pt x="193" y="38"/>
                  </a:lnTo>
                  <a:lnTo>
                    <a:pt x="193" y="77"/>
                  </a:lnTo>
                  <a:lnTo>
                    <a:pt x="155" y="77"/>
                  </a:lnTo>
                  <a:lnTo>
                    <a:pt x="155" y="38"/>
                  </a:lnTo>
                  <a:lnTo>
                    <a:pt x="116" y="38"/>
                  </a:lnTo>
                  <a:lnTo>
                    <a:pt x="116" y="0"/>
                  </a:lnTo>
                  <a:lnTo>
                    <a:pt x="0" y="0"/>
                  </a:lnTo>
                  <a:lnTo>
                    <a:pt x="0" y="38"/>
                  </a:lnTo>
                  <a:lnTo>
                    <a:pt x="38" y="38"/>
                  </a:lnTo>
                  <a:lnTo>
                    <a:pt x="38" y="77"/>
                  </a:lnTo>
                  <a:lnTo>
                    <a:pt x="0" y="77"/>
                  </a:lnTo>
                  <a:lnTo>
                    <a:pt x="0" y="272"/>
                  </a:lnTo>
                  <a:lnTo>
                    <a:pt x="77" y="272"/>
                  </a:lnTo>
                  <a:lnTo>
                    <a:pt x="77" y="233"/>
                  </a:lnTo>
                  <a:lnTo>
                    <a:pt x="116" y="233"/>
                  </a:lnTo>
                  <a:lnTo>
                    <a:pt x="116" y="272"/>
                  </a:lnTo>
                  <a:lnTo>
                    <a:pt x="155" y="272"/>
                  </a:lnTo>
                  <a:lnTo>
                    <a:pt x="155" y="193"/>
                  </a:lnTo>
                  <a:lnTo>
                    <a:pt x="116" y="193"/>
                  </a:lnTo>
                  <a:lnTo>
                    <a:pt x="116" y="155"/>
                  </a:lnTo>
                  <a:lnTo>
                    <a:pt x="155" y="155"/>
                  </a:lnTo>
                  <a:lnTo>
                    <a:pt x="155" y="116"/>
                  </a:lnTo>
                  <a:lnTo>
                    <a:pt x="193" y="116"/>
                  </a:lnTo>
                  <a:lnTo>
                    <a:pt x="193" y="155"/>
                  </a:lnTo>
                  <a:lnTo>
                    <a:pt x="155" y="155"/>
                  </a:lnTo>
                  <a:lnTo>
                    <a:pt x="155" y="193"/>
                  </a:lnTo>
                  <a:lnTo>
                    <a:pt x="232" y="193"/>
                  </a:lnTo>
                  <a:lnTo>
                    <a:pt x="232" y="155"/>
                  </a:lnTo>
                  <a:lnTo>
                    <a:pt x="271" y="155"/>
                  </a:lnTo>
                  <a:lnTo>
                    <a:pt x="271" y="116"/>
                  </a:lnTo>
                  <a:lnTo>
                    <a:pt x="232" y="116"/>
                  </a:lnTo>
                  <a:lnTo>
                    <a:pt x="232" y="77"/>
                  </a:lnTo>
                  <a:lnTo>
                    <a:pt x="271" y="77"/>
                  </a:lnTo>
                  <a:close/>
                  <a:moveTo>
                    <a:pt x="77" y="193"/>
                  </a:moveTo>
                  <a:lnTo>
                    <a:pt x="38" y="193"/>
                  </a:lnTo>
                  <a:lnTo>
                    <a:pt x="38" y="155"/>
                  </a:lnTo>
                  <a:lnTo>
                    <a:pt x="77" y="155"/>
                  </a:lnTo>
                  <a:lnTo>
                    <a:pt x="77" y="193"/>
                  </a:lnTo>
                  <a:close/>
                  <a:moveTo>
                    <a:pt x="116" y="116"/>
                  </a:moveTo>
                  <a:lnTo>
                    <a:pt x="77" y="116"/>
                  </a:lnTo>
                  <a:lnTo>
                    <a:pt x="77" y="77"/>
                  </a:lnTo>
                  <a:lnTo>
                    <a:pt x="116" y="77"/>
                  </a:lnTo>
                  <a:lnTo>
                    <a:pt x="116" y="11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3" name="Rectangle 8">
              <a:extLst>
                <a:ext uri="{FF2B5EF4-FFF2-40B4-BE49-F238E27FC236}">
                  <a16:creationId xmlns:a16="http://schemas.microsoft.com/office/drawing/2014/main" id="{C17B9B72-89DF-413F-A931-A58B8A87148E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1439863" y="6272213"/>
              <a:ext cx="61913" cy="619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4" name="Rectangle 9">
              <a:extLst>
                <a:ext uri="{FF2B5EF4-FFF2-40B4-BE49-F238E27FC236}">
                  <a16:creationId xmlns:a16="http://schemas.microsoft.com/office/drawing/2014/main" id="{F00D396B-D8E8-4A6A-9A83-1DA254A054AB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1501775" y="6334126"/>
              <a:ext cx="60325" cy="619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5" name="Freeform 10">
              <a:extLst>
                <a:ext uri="{FF2B5EF4-FFF2-40B4-BE49-F238E27FC236}">
                  <a16:creationId xmlns:a16="http://schemas.microsoft.com/office/drawing/2014/main" id="{7CE01C6E-6594-43A3-87F8-B1C94022EEE2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1439863" y="6456363"/>
              <a:ext cx="122238" cy="125413"/>
            </a:xfrm>
            <a:custGeom>
              <a:avLst/>
              <a:gdLst>
                <a:gd name="T0" fmla="*/ 39 w 77"/>
                <a:gd name="T1" fmla="*/ 0 h 79"/>
                <a:gd name="T2" fmla="*/ 0 w 77"/>
                <a:gd name="T3" fmla="*/ 0 h 79"/>
                <a:gd name="T4" fmla="*/ 0 w 77"/>
                <a:gd name="T5" fmla="*/ 40 h 79"/>
                <a:gd name="T6" fmla="*/ 39 w 77"/>
                <a:gd name="T7" fmla="*/ 40 h 79"/>
                <a:gd name="T8" fmla="*/ 39 w 77"/>
                <a:gd name="T9" fmla="*/ 79 h 79"/>
                <a:gd name="T10" fmla="*/ 77 w 77"/>
                <a:gd name="T11" fmla="*/ 79 h 79"/>
                <a:gd name="T12" fmla="*/ 77 w 77"/>
                <a:gd name="T13" fmla="*/ 40 h 79"/>
                <a:gd name="T14" fmla="*/ 39 w 77"/>
                <a:gd name="T15" fmla="*/ 40 h 79"/>
                <a:gd name="T16" fmla="*/ 39 w 77"/>
                <a:gd name="T17" fmla="*/ 0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7" h="79">
                  <a:moveTo>
                    <a:pt x="39" y="0"/>
                  </a:moveTo>
                  <a:lnTo>
                    <a:pt x="0" y="0"/>
                  </a:lnTo>
                  <a:lnTo>
                    <a:pt x="0" y="40"/>
                  </a:lnTo>
                  <a:lnTo>
                    <a:pt x="39" y="40"/>
                  </a:lnTo>
                  <a:lnTo>
                    <a:pt x="39" y="79"/>
                  </a:lnTo>
                  <a:lnTo>
                    <a:pt x="77" y="79"/>
                  </a:lnTo>
                  <a:lnTo>
                    <a:pt x="77" y="40"/>
                  </a:lnTo>
                  <a:lnTo>
                    <a:pt x="39" y="40"/>
                  </a:lnTo>
                  <a:lnTo>
                    <a:pt x="39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6" name="Rectangle 11">
              <a:extLst>
                <a:ext uri="{FF2B5EF4-FFF2-40B4-BE49-F238E27FC236}">
                  <a16:creationId xmlns:a16="http://schemas.microsoft.com/office/drawing/2014/main" id="{2A8397CF-5FBF-4BDD-BC1A-24F5616FA644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1316038" y="6519863"/>
              <a:ext cx="61913" cy="619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  <p:sp>
        <p:nvSpPr>
          <p:cNvPr id="59" name="Textplatzhalter 9">
            <a:extLst>
              <a:ext uri="{FF2B5EF4-FFF2-40B4-BE49-F238E27FC236}">
                <a16:creationId xmlns:a16="http://schemas.microsoft.com/office/drawing/2014/main" id="{11CBB0A6-8EFA-4D18-A7C6-EAA2307D0E2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397788" y="4558796"/>
            <a:ext cx="1644319" cy="492443"/>
          </a:xfrm>
          <a:prstGeom prst="rect">
            <a:avLst/>
          </a:prstGeom>
        </p:spPr>
        <p:txBody>
          <a:bodyPr anchor="ctr" anchorCtr="0">
            <a:spAutoFit/>
          </a:bodyPr>
          <a:lstStyle>
            <a:lvl1pPr marL="0" indent="0" algn="ctr">
              <a:lnSpc>
                <a:spcPct val="100000"/>
              </a:lnSpc>
              <a:buNone/>
              <a:defRPr sz="1600" b="0"/>
            </a:lvl1pPr>
          </a:lstStyle>
          <a:p>
            <a:pPr lvl="0"/>
            <a:r>
              <a:rPr lang="de-DE"/>
              <a:t>Ursula Platz 1</a:t>
            </a:r>
            <a:br>
              <a:rPr lang="de-DE"/>
            </a:br>
            <a:r>
              <a:rPr lang="de-DE"/>
              <a:t>50668 Köln</a:t>
            </a:r>
          </a:p>
        </p:txBody>
      </p:sp>
      <p:sp>
        <p:nvSpPr>
          <p:cNvPr id="60" name="Textplatzhalter 9">
            <a:extLst>
              <a:ext uri="{FF2B5EF4-FFF2-40B4-BE49-F238E27FC236}">
                <a16:creationId xmlns:a16="http://schemas.microsoft.com/office/drawing/2014/main" id="{AF4525B0-B184-46A8-81EB-0141AA7D501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148723" y="4186238"/>
            <a:ext cx="2228519" cy="257250"/>
          </a:xfrm>
          <a:prstGeom prst="rect">
            <a:avLst/>
          </a:prstGeom>
        </p:spPr>
        <p:txBody>
          <a:bodyPr wrap="square" anchor="ctr" anchorCtr="0">
            <a:spAutoFit/>
          </a:bodyPr>
          <a:lstStyle>
            <a:lvl1pPr marL="0" indent="0" algn="ctr">
              <a:buNone/>
              <a:defRPr sz="1600" b="1"/>
            </a:lvl1pPr>
          </a:lstStyle>
          <a:p>
            <a:pPr lvl="0"/>
            <a:r>
              <a:rPr lang="de-DE"/>
              <a:t>Smart Health Academy</a:t>
            </a:r>
          </a:p>
        </p:txBody>
      </p:sp>
      <p:sp>
        <p:nvSpPr>
          <p:cNvPr id="62" name="Textplatzhalter 9">
            <a:extLst>
              <a:ext uri="{FF2B5EF4-FFF2-40B4-BE49-F238E27FC236}">
                <a16:creationId xmlns:a16="http://schemas.microsoft.com/office/drawing/2014/main" id="{4AA14474-4CCA-404D-B7C2-9AF7C80F21D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148724" y="4571107"/>
            <a:ext cx="2228518" cy="738664"/>
          </a:xfrm>
          <a:prstGeom prst="rect">
            <a:avLst/>
          </a:prstGeom>
        </p:spPr>
        <p:txBody>
          <a:bodyPr wrap="square" anchor="ctr" anchorCtr="0">
            <a:spAutoFit/>
          </a:bodyPr>
          <a:lstStyle>
            <a:lvl1pPr marL="0" indent="0" algn="ctr">
              <a:lnSpc>
                <a:spcPct val="100000"/>
              </a:lnSpc>
              <a:buNone/>
              <a:defRPr sz="1600" b="0"/>
            </a:lvl1pPr>
          </a:lstStyle>
          <a:p>
            <a:pPr lvl="0"/>
            <a:r>
              <a:rPr lang="pt-BR"/>
              <a:t>Felix Dorn</a:t>
            </a:r>
            <a:br>
              <a:rPr lang="pt-BR"/>
            </a:br>
            <a:r>
              <a:rPr lang="pt-BR"/>
              <a:t>felix.dorn@mdoc.one</a:t>
            </a:r>
            <a:br>
              <a:rPr lang="pt-BR"/>
            </a:br>
            <a:r>
              <a:rPr lang="pt-BR"/>
              <a:t>www.mdoc.one</a:t>
            </a:r>
          </a:p>
        </p:txBody>
      </p:sp>
    </p:spTree>
    <p:extLst>
      <p:ext uri="{BB962C8B-B14F-4D97-AF65-F5344CB8AC3E}">
        <p14:creationId xmlns:p14="http://schemas.microsoft.com/office/powerpoint/2010/main" val="20721634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spd="slow">
        <p:split orient="vert"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&amp; UNTER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B04C215-6739-4902-8578-E5D881D35A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540000" y="523874"/>
            <a:ext cx="11109600" cy="988125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6" name="Untertitel">
            <a:extLst>
              <a:ext uri="{FF2B5EF4-FFF2-40B4-BE49-F238E27FC236}">
                <a16:creationId xmlns:a16="http://schemas.microsoft.com/office/drawing/2014/main" id="{04BD9532-69F6-4290-BB71-35CB046BA41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40000" y="899999"/>
            <a:ext cx="11109600" cy="612000"/>
          </a:xfrm>
        </p:spPr>
        <p:txBody>
          <a:bodyPr/>
          <a:lstStyle>
            <a:lvl1pPr marL="0" indent="0">
              <a:buNone/>
              <a:defRPr baseline="0">
                <a:solidFill>
                  <a:schemeClr val="accent5"/>
                </a:solidFill>
              </a:defRPr>
            </a:lvl1pPr>
          </a:lstStyle>
          <a:p>
            <a:r>
              <a:rPr lang="de-DE" noProof="0"/>
              <a:t>Geben Sie Ihren Untertitel ein</a:t>
            </a:r>
          </a:p>
        </p:txBody>
      </p:sp>
      <p:sp>
        <p:nvSpPr>
          <p:cNvPr id="7" name="Foliennummer">
            <a:extLst>
              <a:ext uri="{FF2B5EF4-FFF2-40B4-BE49-F238E27FC236}">
                <a16:creationId xmlns:a16="http://schemas.microsoft.com/office/drawing/2014/main" id="{7D26E7B9-36FB-4738-B438-B515BAF9866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11181600" y="6277176"/>
            <a:ext cx="468000" cy="216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lang="de-DE" sz="1000" b="1" kern="1200" smtClean="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1pPr>
          </a:lstStyle>
          <a:p>
            <a:fld id="{02CEFE82-39F2-4F47-8A0C-D5AB3496FA5C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8E8AC66E-3F23-4946-9308-8A2E58CDA93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540000" y="6277176"/>
            <a:ext cx="4633980" cy="216000"/>
          </a:xfrm>
          <a:prstGeom prst="rect">
            <a:avLst/>
          </a:prstGeom>
        </p:spPr>
        <p:txBody>
          <a:bodyPr lIns="0" tIns="0" rIns="0" bIns="0" anchor="b" anchorCtr="0"/>
          <a:lstStyle>
            <a:lvl1pPr>
              <a:defRPr sz="1000"/>
            </a:lvl1pPr>
          </a:lstStyle>
          <a:p>
            <a:r>
              <a:rPr lang="de-DE"/>
              <a:t>Smart Clinic – Auf dem Weg zum digitalen Vorreiter</a:t>
            </a:r>
          </a:p>
        </p:txBody>
      </p:sp>
      <p:sp>
        <p:nvSpPr>
          <p:cNvPr id="9" name="Datum">
            <a:extLst>
              <a:ext uri="{FF2B5EF4-FFF2-40B4-BE49-F238E27FC236}">
                <a16:creationId xmlns:a16="http://schemas.microsoft.com/office/drawing/2014/main" id="{576BE0DE-93D5-4FB5-90CB-5EA993567A40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5375206" y="6277176"/>
            <a:ext cx="1440000" cy="216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>
              <a:defRPr sz="1000">
                <a:solidFill>
                  <a:schemeClr val="tx1"/>
                </a:solidFill>
              </a:defRPr>
            </a:lvl1pPr>
          </a:lstStyle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068899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&amp;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"/>
          <p:cNvSpPr>
            <a:spLocks noGrp="1"/>
          </p:cNvSpPr>
          <p:nvPr>
            <p:ph idx="1"/>
          </p:nvPr>
        </p:nvSpPr>
        <p:spPr bwMode="gray">
          <a:xfrm>
            <a:off x="540000" y="1512000"/>
            <a:ext cx="11109600" cy="4298400"/>
          </a:xfrm>
        </p:spPr>
        <p:txBody>
          <a:bodyPr/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</p:txBody>
      </p:sp>
      <p:sp>
        <p:nvSpPr>
          <p:cNvPr id="7" name="Titel 6">
            <a:extLst>
              <a:ext uri="{FF2B5EF4-FFF2-40B4-BE49-F238E27FC236}">
                <a16:creationId xmlns:a16="http://schemas.microsoft.com/office/drawing/2014/main" id="{95719CB6-94D6-45D9-9EA3-C8FD631AED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540000" y="523874"/>
            <a:ext cx="11109600" cy="988125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14" name="Untertitel">
            <a:extLst>
              <a:ext uri="{FF2B5EF4-FFF2-40B4-BE49-F238E27FC236}">
                <a16:creationId xmlns:a16="http://schemas.microsoft.com/office/drawing/2014/main" id="{80A08B67-2B0B-4FB3-98D0-D6BDBDF0DC2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40000" y="899999"/>
            <a:ext cx="11109600" cy="612000"/>
          </a:xfrm>
        </p:spPr>
        <p:txBody>
          <a:bodyPr/>
          <a:lstStyle>
            <a:lvl1pPr marL="0" indent="0">
              <a:buNone/>
              <a:defRPr baseline="0">
                <a:solidFill>
                  <a:schemeClr val="accent5"/>
                </a:solidFill>
              </a:defRPr>
            </a:lvl1pPr>
          </a:lstStyle>
          <a:p>
            <a:r>
              <a:rPr lang="de-DE" noProof="0"/>
              <a:t>Geben Sie Ihren Untertitel ein</a:t>
            </a:r>
          </a:p>
        </p:txBody>
      </p:sp>
      <p:sp>
        <p:nvSpPr>
          <p:cNvPr id="6" name="Foliennummer">
            <a:extLst>
              <a:ext uri="{FF2B5EF4-FFF2-40B4-BE49-F238E27FC236}">
                <a16:creationId xmlns:a16="http://schemas.microsoft.com/office/drawing/2014/main" id="{3A4385F0-F438-42F4-871A-F3E185A1472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11181600" y="6277176"/>
            <a:ext cx="468000" cy="216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lang="de-DE" sz="1000" b="1" kern="1200" smtClean="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1pPr>
          </a:lstStyle>
          <a:p>
            <a:fld id="{02CEFE82-39F2-4F47-8A0C-D5AB3496FA5C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080E5B02-5D31-469A-BD07-7CAFAA0F22A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540000" y="6277176"/>
            <a:ext cx="4633980" cy="216000"/>
          </a:xfrm>
          <a:prstGeom prst="rect">
            <a:avLst/>
          </a:prstGeom>
        </p:spPr>
        <p:txBody>
          <a:bodyPr lIns="0" tIns="0" rIns="0" bIns="0" anchor="b" anchorCtr="0"/>
          <a:lstStyle>
            <a:lvl1pPr>
              <a:defRPr sz="1000"/>
            </a:lvl1pPr>
          </a:lstStyle>
          <a:p>
            <a:r>
              <a:rPr lang="de-DE"/>
              <a:t>Smart Clinic – Auf dem Weg zum digitalen Vorreiter</a:t>
            </a:r>
          </a:p>
        </p:txBody>
      </p:sp>
      <p:sp>
        <p:nvSpPr>
          <p:cNvPr id="9" name="Datum">
            <a:extLst>
              <a:ext uri="{FF2B5EF4-FFF2-40B4-BE49-F238E27FC236}">
                <a16:creationId xmlns:a16="http://schemas.microsoft.com/office/drawing/2014/main" id="{62262E5E-9011-4A9A-A8A2-F86C58BACDBD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5375206" y="6277176"/>
            <a:ext cx="1440000" cy="216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>
              <a:defRPr sz="1000">
                <a:solidFill>
                  <a:schemeClr val="tx1"/>
                </a:solidFill>
              </a:defRPr>
            </a:lvl1pPr>
          </a:lstStyle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601668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&amp; INHALT ZWEISPALT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540000" y="523874"/>
            <a:ext cx="11109600" cy="988125"/>
          </a:xfrm>
        </p:spPr>
        <p:txBody>
          <a:bodyPr/>
          <a:lstStyle/>
          <a:p>
            <a:r>
              <a:rPr lang="de-CH" noProof="0"/>
              <a:t>Titelmasterformat durch Klicken bearbeiten</a:t>
            </a:r>
          </a:p>
        </p:txBody>
      </p:sp>
      <p:sp>
        <p:nvSpPr>
          <p:cNvPr id="7" name="Inhalt 1">
            <a:extLst>
              <a:ext uri="{FF2B5EF4-FFF2-40B4-BE49-F238E27FC236}">
                <a16:creationId xmlns:a16="http://schemas.microsoft.com/office/drawing/2014/main" id="{D2C6AA04-3B7E-428A-8FBC-E6CA25C0D577}"/>
              </a:ext>
            </a:extLst>
          </p:cNvPr>
          <p:cNvSpPr>
            <a:spLocks noGrp="1"/>
          </p:cNvSpPr>
          <p:nvPr>
            <p:ph sz="half" idx="1"/>
          </p:nvPr>
        </p:nvSpPr>
        <p:spPr bwMode="gray">
          <a:xfrm>
            <a:off x="540000" y="1512000"/>
            <a:ext cx="5338800" cy="4298400"/>
          </a:xfrm>
        </p:spPr>
        <p:txBody>
          <a:bodyPr/>
          <a:lstStyle>
            <a:lvl1pPr>
              <a:defRPr sz="1800" b="0">
                <a:latin typeface="+mn-lt"/>
              </a:defRPr>
            </a:lvl1pPr>
            <a:lvl2pPr>
              <a:defRPr sz="1600" b="0">
                <a:latin typeface="+mn-lt"/>
              </a:defRPr>
            </a:lvl2pPr>
            <a:lvl3pPr>
              <a:defRPr sz="1400" b="0">
                <a:latin typeface="+mn-lt"/>
              </a:defRPr>
            </a:lvl3pPr>
            <a:lvl4pPr>
              <a:defRPr sz="1200" b="0">
                <a:latin typeface="+mn-lt"/>
              </a:defRPr>
            </a:lvl4pPr>
            <a:lvl5pPr>
              <a:defRPr sz="1200">
                <a:latin typeface="+mn-lt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</p:txBody>
      </p:sp>
      <p:sp>
        <p:nvSpPr>
          <p:cNvPr id="10" name="Inhalt 1">
            <a:extLst>
              <a:ext uri="{FF2B5EF4-FFF2-40B4-BE49-F238E27FC236}">
                <a16:creationId xmlns:a16="http://schemas.microsoft.com/office/drawing/2014/main" id="{3A05AB22-38CA-43D2-B899-9EAE8EE39231}"/>
              </a:ext>
            </a:extLst>
          </p:cNvPr>
          <p:cNvSpPr>
            <a:spLocks noGrp="1"/>
          </p:cNvSpPr>
          <p:nvPr>
            <p:ph sz="half" idx="10"/>
          </p:nvPr>
        </p:nvSpPr>
        <p:spPr bwMode="gray">
          <a:xfrm>
            <a:off x="6310800" y="1512000"/>
            <a:ext cx="5338800" cy="4298400"/>
          </a:xfrm>
        </p:spPr>
        <p:txBody>
          <a:bodyPr/>
          <a:lstStyle>
            <a:lvl1pPr>
              <a:defRPr sz="1800" b="0">
                <a:latin typeface="+mn-lt"/>
              </a:defRPr>
            </a:lvl1pPr>
            <a:lvl2pPr>
              <a:defRPr sz="1600" b="0">
                <a:latin typeface="+mn-lt"/>
              </a:defRPr>
            </a:lvl2pPr>
            <a:lvl3pPr>
              <a:defRPr sz="1400" b="0">
                <a:latin typeface="+mn-lt"/>
              </a:defRPr>
            </a:lvl3pPr>
            <a:lvl4pPr>
              <a:defRPr sz="1200" b="0">
                <a:latin typeface="+mn-lt"/>
              </a:defRPr>
            </a:lvl4pPr>
            <a:lvl5pPr>
              <a:defRPr sz="1200">
                <a:latin typeface="+mn-lt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</p:txBody>
      </p:sp>
      <p:sp>
        <p:nvSpPr>
          <p:cNvPr id="11" name="Foliennummer">
            <a:extLst>
              <a:ext uri="{FF2B5EF4-FFF2-40B4-BE49-F238E27FC236}">
                <a16:creationId xmlns:a16="http://schemas.microsoft.com/office/drawing/2014/main" id="{EE94E4CD-D99E-4BFE-BC0D-2C02C33E3C8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11181600" y="6277176"/>
            <a:ext cx="468000" cy="216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lang="de-DE" sz="1000" b="1" kern="1200" smtClean="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1pPr>
          </a:lstStyle>
          <a:p>
            <a:fld id="{02CEFE82-39F2-4F47-8A0C-D5AB3496FA5C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2" name="Fußzeilenplatzhalter 7">
            <a:extLst>
              <a:ext uri="{FF2B5EF4-FFF2-40B4-BE49-F238E27FC236}">
                <a16:creationId xmlns:a16="http://schemas.microsoft.com/office/drawing/2014/main" id="{5C2D339B-AD53-4F65-A58B-AF2FCE483EB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540000" y="6277176"/>
            <a:ext cx="4633980" cy="216000"/>
          </a:xfrm>
          <a:prstGeom prst="rect">
            <a:avLst/>
          </a:prstGeom>
        </p:spPr>
        <p:txBody>
          <a:bodyPr lIns="0" tIns="0" rIns="0" bIns="0" anchor="b" anchorCtr="0"/>
          <a:lstStyle>
            <a:lvl1pPr>
              <a:defRPr sz="1000"/>
            </a:lvl1pPr>
          </a:lstStyle>
          <a:p>
            <a:r>
              <a:rPr lang="de-DE"/>
              <a:t>Smart Clinic – Auf dem Weg zum digitalen Vorreiter</a:t>
            </a:r>
          </a:p>
        </p:txBody>
      </p:sp>
      <p:sp>
        <p:nvSpPr>
          <p:cNvPr id="13" name="Datum">
            <a:extLst>
              <a:ext uri="{FF2B5EF4-FFF2-40B4-BE49-F238E27FC236}">
                <a16:creationId xmlns:a16="http://schemas.microsoft.com/office/drawing/2014/main" id="{201A6FBE-EA85-47F9-B1FC-43A8AD427698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5375206" y="6277176"/>
            <a:ext cx="1440000" cy="216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>
              <a:defRPr sz="1000">
                <a:solidFill>
                  <a:schemeClr val="tx1"/>
                </a:solidFill>
              </a:defRPr>
            </a:lvl1pPr>
          </a:lstStyle>
          <a:p>
            <a:endParaRPr lang="de-DE"/>
          </a:p>
        </p:txBody>
      </p:sp>
      <p:sp>
        <p:nvSpPr>
          <p:cNvPr id="8" name="Untertitel">
            <a:extLst>
              <a:ext uri="{FF2B5EF4-FFF2-40B4-BE49-F238E27FC236}">
                <a16:creationId xmlns:a16="http://schemas.microsoft.com/office/drawing/2014/main" id="{412F4CB9-5715-43DE-8C89-2FC68C279D1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40000" y="899999"/>
            <a:ext cx="11109600" cy="612000"/>
          </a:xfrm>
        </p:spPr>
        <p:txBody>
          <a:bodyPr/>
          <a:lstStyle>
            <a:lvl1pPr marL="0" indent="0">
              <a:buNone/>
              <a:defRPr baseline="0">
                <a:solidFill>
                  <a:schemeClr val="accent5"/>
                </a:solidFill>
              </a:defRPr>
            </a:lvl1pPr>
          </a:lstStyle>
          <a:p>
            <a:r>
              <a:rPr lang="de-DE" noProof="0"/>
              <a:t>Geben Sie Ihren Untertitel ein</a:t>
            </a:r>
          </a:p>
        </p:txBody>
      </p:sp>
    </p:spTree>
    <p:extLst>
      <p:ext uri="{BB962C8B-B14F-4D97-AF65-F5344CB8AC3E}">
        <p14:creationId xmlns:p14="http://schemas.microsoft.com/office/powerpoint/2010/main" val="288617354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&amp; INHALT DREISPALT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540000" y="523874"/>
            <a:ext cx="11109600" cy="988125"/>
          </a:xfrm>
        </p:spPr>
        <p:txBody>
          <a:bodyPr/>
          <a:lstStyle/>
          <a:p>
            <a:r>
              <a:rPr lang="de-CH" noProof="0"/>
              <a:t>Titelmasterformat durch Klicken bearbeiten</a:t>
            </a:r>
          </a:p>
        </p:txBody>
      </p:sp>
      <p:sp>
        <p:nvSpPr>
          <p:cNvPr id="13" name="Inhalt 1">
            <a:extLst>
              <a:ext uri="{FF2B5EF4-FFF2-40B4-BE49-F238E27FC236}">
                <a16:creationId xmlns:a16="http://schemas.microsoft.com/office/drawing/2014/main" id="{6419A45B-9E19-4493-8011-569588192810}"/>
              </a:ext>
            </a:extLst>
          </p:cNvPr>
          <p:cNvSpPr>
            <a:spLocks noGrp="1"/>
          </p:cNvSpPr>
          <p:nvPr>
            <p:ph sz="half" idx="15"/>
          </p:nvPr>
        </p:nvSpPr>
        <p:spPr bwMode="gray">
          <a:xfrm>
            <a:off x="540000" y="1512000"/>
            <a:ext cx="3416400" cy="4298400"/>
          </a:xfrm>
        </p:spPr>
        <p:txBody>
          <a:bodyPr/>
          <a:lstStyle>
            <a:lvl1pPr>
              <a:defRPr sz="1800" b="0">
                <a:latin typeface="+mn-lt"/>
              </a:defRPr>
            </a:lvl1pPr>
            <a:lvl2pPr>
              <a:defRPr sz="1600" b="0">
                <a:latin typeface="+mn-lt"/>
              </a:defRPr>
            </a:lvl2pPr>
            <a:lvl3pPr>
              <a:defRPr sz="1400" b="0">
                <a:latin typeface="+mn-lt"/>
              </a:defRPr>
            </a:lvl3pPr>
            <a:lvl4pPr>
              <a:defRPr sz="1200" b="0">
                <a:latin typeface="+mn-lt"/>
              </a:defRPr>
            </a:lvl4pPr>
            <a:lvl5pPr>
              <a:defRPr sz="1200">
                <a:latin typeface="+mn-lt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</p:txBody>
      </p:sp>
      <p:sp>
        <p:nvSpPr>
          <p:cNvPr id="14" name="Inhalt 1">
            <a:extLst>
              <a:ext uri="{FF2B5EF4-FFF2-40B4-BE49-F238E27FC236}">
                <a16:creationId xmlns:a16="http://schemas.microsoft.com/office/drawing/2014/main" id="{3F70F7D3-14BC-41F3-B4A1-8A552D308CB9}"/>
              </a:ext>
            </a:extLst>
          </p:cNvPr>
          <p:cNvSpPr>
            <a:spLocks noGrp="1"/>
          </p:cNvSpPr>
          <p:nvPr>
            <p:ph sz="half" idx="16"/>
          </p:nvPr>
        </p:nvSpPr>
        <p:spPr bwMode="gray">
          <a:xfrm>
            <a:off x="8233200" y="1512000"/>
            <a:ext cx="3416400" cy="4298400"/>
          </a:xfrm>
        </p:spPr>
        <p:txBody>
          <a:bodyPr/>
          <a:lstStyle>
            <a:lvl1pPr>
              <a:defRPr sz="1800" b="0">
                <a:latin typeface="+mn-lt"/>
              </a:defRPr>
            </a:lvl1pPr>
            <a:lvl2pPr>
              <a:defRPr sz="1600" b="0">
                <a:latin typeface="+mn-lt"/>
              </a:defRPr>
            </a:lvl2pPr>
            <a:lvl3pPr>
              <a:defRPr sz="1400" b="0">
                <a:latin typeface="+mn-lt"/>
              </a:defRPr>
            </a:lvl3pPr>
            <a:lvl4pPr>
              <a:defRPr sz="1200" b="0">
                <a:latin typeface="+mn-lt"/>
              </a:defRPr>
            </a:lvl4pPr>
            <a:lvl5pPr>
              <a:defRPr sz="1200">
                <a:latin typeface="+mn-lt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</p:txBody>
      </p:sp>
      <p:sp>
        <p:nvSpPr>
          <p:cNvPr id="15" name="Inhalt 1">
            <a:extLst>
              <a:ext uri="{FF2B5EF4-FFF2-40B4-BE49-F238E27FC236}">
                <a16:creationId xmlns:a16="http://schemas.microsoft.com/office/drawing/2014/main" id="{F4D3916C-BFE4-4A35-A0D7-657B4B6888F3}"/>
              </a:ext>
            </a:extLst>
          </p:cNvPr>
          <p:cNvSpPr>
            <a:spLocks noGrp="1"/>
          </p:cNvSpPr>
          <p:nvPr>
            <p:ph sz="half" idx="17"/>
          </p:nvPr>
        </p:nvSpPr>
        <p:spPr bwMode="gray">
          <a:xfrm>
            <a:off x="4386600" y="1512000"/>
            <a:ext cx="3416400" cy="4298400"/>
          </a:xfrm>
        </p:spPr>
        <p:txBody>
          <a:bodyPr/>
          <a:lstStyle>
            <a:lvl1pPr>
              <a:defRPr sz="1800" b="0">
                <a:latin typeface="+mn-lt"/>
              </a:defRPr>
            </a:lvl1pPr>
            <a:lvl2pPr>
              <a:defRPr sz="1600" b="0">
                <a:latin typeface="+mn-lt"/>
              </a:defRPr>
            </a:lvl2pPr>
            <a:lvl3pPr>
              <a:defRPr sz="1400" b="0">
                <a:latin typeface="+mn-lt"/>
              </a:defRPr>
            </a:lvl3pPr>
            <a:lvl4pPr>
              <a:defRPr sz="1200" b="0">
                <a:latin typeface="+mn-lt"/>
              </a:defRPr>
            </a:lvl4pPr>
            <a:lvl5pPr>
              <a:defRPr sz="1200">
                <a:latin typeface="+mn-lt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</p:txBody>
      </p:sp>
      <p:sp>
        <p:nvSpPr>
          <p:cNvPr id="16" name="Foliennummer">
            <a:extLst>
              <a:ext uri="{FF2B5EF4-FFF2-40B4-BE49-F238E27FC236}">
                <a16:creationId xmlns:a16="http://schemas.microsoft.com/office/drawing/2014/main" id="{819F25FE-1E17-4443-8C30-324E9B5D7B1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11181600" y="6277176"/>
            <a:ext cx="468000" cy="216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lang="de-DE" sz="1000" b="1" kern="1200" smtClean="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1pPr>
          </a:lstStyle>
          <a:p>
            <a:fld id="{02CEFE82-39F2-4F47-8A0C-D5AB3496FA5C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7" name="Fußzeilenplatzhalter 7">
            <a:extLst>
              <a:ext uri="{FF2B5EF4-FFF2-40B4-BE49-F238E27FC236}">
                <a16:creationId xmlns:a16="http://schemas.microsoft.com/office/drawing/2014/main" id="{92F7D8EB-813B-48F2-ACAB-3DC7FD4C36E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540000" y="6277176"/>
            <a:ext cx="4633980" cy="216000"/>
          </a:xfrm>
          <a:prstGeom prst="rect">
            <a:avLst/>
          </a:prstGeom>
        </p:spPr>
        <p:txBody>
          <a:bodyPr lIns="0" tIns="0" rIns="0" bIns="0" anchor="b" anchorCtr="0"/>
          <a:lstStyle>
            <a:lvl1pPr>
              <a:defRPr sz="1000"/>
            </a:lvl1pPr>
          </a:lstStyle>
          <a:p>
            <a:r>
              <a:rPr lang="de-DE"/>
              <a:t>Smart Clinic – Auf dem Weg zum digitalen Vorreiter</a:t>
            </a:r>
          </a:p>
        </p:txBody>
      </p:sp>
      <p:sp>
        <p:nvSpPr>
          <p:cNvPr id="18" name="Datum">
            <a:extLst>
              <a:ext uri="{FF2B5EF4-FFF2-40B4-BE49-F238E27FC236}">
                <a16:creationId xmlns:a16="http://schemas.microsoft.com/office/drawing/2014/main" id="{AA74C73A-3099-480B-B1C7-2CC7A1BD0BF4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5375206" y="6277176"/>
            <a:ext cx="1440000" cy="216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>
              <a:defRPr sz="1000">
                <a:solidFill>
                  <a:schemeClr val="tx1"/>
                </a:solidFill>
              </a:defRPr>
            </a:lvl1pPr>
          </a:lstStyle>
          <a:p>
            <a:endParaRPr lang="de-DE"/>
          </a:p>
        </p:txBody>
      </p:sp>
      <p:sp>
        <p:nvSpPr>
          <p:cNvPr id="9" name="Untertitel">
            <a:extLst>
              <a:ext uri="{FF2B5EF4-FFF2-40B4-BE49-F238E27FC236}">
                <a16:creationId xmlns:a16="http://schemas.microsoft.com/office/drawing/2014/main" id="{A6991B73-AC31-4C5A-AAE7-974A0617C17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40000" y="899999"/>
            <a:ext cx="11109600" cy="612000"/>
          </a:xfrm>
        </p:spPr>
        <p:txBody>
          <a:bodyPr/>
          <a:lstStyle>
            <a:lvl1pPr marL="0" indent="0">
              <a:buNone/>
              <a:defRPr baseline="0">
                <a:solidFill>
                  <a:schemeClr val="accent5"/>
                </a:solidFill>
              </a:defRPr>
            </a:lvl1pPr>
          </a:lstStyle>
          <a:p>
            <a:r>
              <a:rPr lang="de-DE" noProof="0"/>
              <a:t>Geben Sie Ihren Untertitel ein</a:t>
            </a:r>
          </a:p>
        </p:txBody>
      </p:sp>
    </p:spTree>
    <p:extLst>
      <p:ext uri="{BB962C8B-B14F-4D97-AF65-F5344CB8AC3E}">
        <p14:creationId xmlns:p14="http://schemas.microsoft.com/office/powerpoint/2010/main" val="365275933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8_TITLE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"/>
          <p:cNvSpPr>
            <a:spLocks noGrp="1"/>
          </p:cNvSpPr>
          <p:nvPr>
            <p:ph idx="1"/>
          </p:nvPr>
        </p:nvSpPr>
        <p:spPr bwMode="gray">
          <a:xfrm>
            <a:off x="540000" y="1512000"/>
            <a:ext cx="11109600" cy="4298400"/>
          </a:xfrm>
        </p:spPr>
        <p:txBody>
          <a:bodyPr/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</p:txBody>
      </p:sp>
      <p:sp>
        <p:nvSpPr>
          <p:cNvPr id="7" name="Titel 6">
            <a:extLst>
              <a:ext uri="{FF2B5EF4-FFF2-40B4-BE49-F238E27FC236}">
                <a16:creationId xmlns:a16="http://schemas.microsoft.com/office/drawing/2014/main" id="{95719CB6-94D6-45D9-9EA3-C8FD631AED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0000" y="523874"/>
            <a:ext cx="11109600" cy="988125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14" name="Untertitel">
            <a:extLst>
              <a:ext uri="{FF2B5EF4-FFF2-40B4-BE49-F238E27FC236}">
                <a16:creationId xmlns:a16="http://schemas.microsoft.com/office/drawing/2014/main" id="{80A08B67-2B0B-4FB3-98D0-D6BDBDF0DC2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40000" y="899999"/>
            <a:ext cx="11109600" cy="612000"/>
          </a:xfrm>
        </p:spPr>
        <p:txBody>
          <a:bodyPr/>
          <a:lstStyle>
            <a:lvl1pPr marL="0" indent="0">
              <a:buNone/>
              <a:defRPr baseline="0">
                <a:solidFill>
                  <a:schemeClr val="accent5"/>
                </a:solidFill>
              </a:defRPr>
            </a:lvl1pPr>
          </a:lstStyle>
          <a:p>
            <a:r>
              <a:rPr lang="de-DE" noProof="0"/>
              <a:t>Geben Sie Ihren Untertitel ein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CE1DA067-97C6-4436-BD37-39C75D3620BC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DE"/>
              <a:t>Platzhalter Fußzeile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E83E467-31B4-4A89-8CD2-60B7AD26161D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2CEFE82-39F2-4F47-8A0C-D5AB3496FA5C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468287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ihandform: Form 5">
            <a:extLst>
              <a:ext uri="{FF2B5EF4-FFF2-40B4-BE49-F238E27FC236}">
                <a16:creationId xmlns:a16="http://schemas.microsoft.com/office/drawing/2014/main" id="{29A80A33-F15F-454E-9D02-B92963330CC0}"/>
              </a:ext>
            </a:extLst>
          </p:cNvPr>
          <p:cNvSpPr>
            <a:spLocks noChangeAspect="1"/>
          </p:cNvSpPr>
          <p:nvPr userDrawn="1"/>
        </p:nvSpPr>
        <p:spPr bwMode="gray">
          <a:xfrm>
            <a:off x="0" y="0"/>
            <a:ext cx="6441871" cy="6858000"/>
          </a:xfrm>
          <a:custGeom>
            <a:avLst/>
            <a:gdLst>
              <a:gd name="connsiteX0" fmla="*/ 0 w 6441871"/>
              <a:gd name="connsiteY0" fmla="*/ 0 h 6858000"/>
              <a:gd name="connsiteX1" fmla="*/ 101600 w 6441871"/>
              <a:gd name="connsiteY1" fmla="*/ 0 h 6858000"/>
              <a:gd name="connsiteX2" fmla="*/ 137916 w 6441871"/>
              <a:gd name="connsiteY2" fmla="*/ 0 h 6858000"/>
              <a:gd name="connsiteX3" fmla="*/ 298699 w 6441871"/>
              <a:gd name="connsiteY3" fmla="*/ 0 h 6858000"/>
              <a:gd name="connsiteX4" fmla="*/ 1066800 w 6441871"/>
              <a:gd name="connsiteY4" fmla="*/ 0 h 6858000"/>
              <a:gd name="connsiteX5" fmla="*/ 6441871 w 6441871"/>
              <a:gd name="connsiteY5" fmla="*/ 0 h 6858000"/>
              <a:gd name="connsiteX6" fmla="*/ 5112885 w 6441871"/>
              <a:gd name="connsiteY6" fmla="*/ 6858000 h 6858000"/>
              <a:gd name="connsiteX7" fmla="*/ 1066800 w 6441871"/>
              <a:gd name="connsiteY7" fmla="*/ 6858000 h 6858000"/>
              <a:gd name="connsiteX8" fmla="*/ 298699 w 6441871"/>
              <a:gd name="connsiteY8" fmla="*/ 6858000 h 6858000"/>
              <a:gd name="connsiteX9" fmla="*/ 137916 w 6441871"/>
              <a:gd name="connsiteY9" fmla="*/ 6858000 h 6858000"/>
              <a:gd name="connsiteX10" fmla="*/ 101600 w 6441871"/>
              <a:gd name="connsiteY10" fmla="*/ 6858000 h 6858000"/>
              <a:gd name="connsiteX11" fmla="*/ 0 w 6441871"/>
              <a:gd name="connsiteY11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6441871" h="6858000">
                <a:moveTo>
                  <a:pt x="0" y="0"/>
                </a:moveTo>
                <a:lnTo>
                  <a:pt x="101600" y="0"/>
                </a:lnTo>
                <a:lnTo>
                  <a:pt x="137916" y="0"/>
                </a:lnTo>
                <a:lnTo>
                  <a:pt x="298699" y="0"/>
                </a:lnTo>
                <a:lnTo>
                  <a:pt x="1066800" y="0"/>
                </a:lnTo>
                <a:lnTo>
                  <a:pt x="6441871" y="0"/>
                </a:lnTo>
                <a:lnTo>
                  <a:pt x="5112885" y="6858000"/>
                </a:lnTo>
                <a:lnTo>
                  <a:pt x="1066800" y="6858000"/>
                </a:lnTo>
                <a:lnTo>
                  <a:pt x="298699" y="6858000"/>
                </a:lnTo>
                <a:lnTo>
                  <a:pt x="137916" y="6858000"/>
                </a:lnTo>
                <a:lnTo>
                  <a:pt x="1016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noAutofit/>
          </a:bodyPr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endParaRPr lang="de-DE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559DEF5E-9DFA-48F2-B587-8C7D3B23FF5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gray">
          <a:xfrm>
            <a:off x="749080" y="1514474"/>
            <a:ext cx="4902198" cy="1495794"/>
          </a:xfrm>
          <a:prstGeom prst="rect">
            <a:avLst/>
          </a:prstGeom>
        </p:spPr>
        <p:txBody>
          <a:bodyPr anchor="b" anchorCtr="0">
            <a:spAutoFit/>
          </a:bodyPr>
          <a:lstStyle>
            <a:lvl1pPr algn="l">
              <a:defRPr sz="5400" b="1">
                <a:solidFill>
                  <a:schemeClr val="accent1"/>
                </a:solidFill>
              </a:defRPr>
            </a:lvl1pPr>
          </a:lstStyle>
          <a:p>
            <a:r>
              <a:rPr lang="de-DE" err="1"/>
              <a:t>Mastertitelfor-mat</a:t>
            </a:r>
            <a:r>
              <a:rPr lang="de-DE"/>
              <a:t> bearbeite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3113E919-3B6A-42C5-9911-5CC3A3C35B72}"/>
              </a:ext>
            </a:extLst>
          </p:cNvPr>
          <p:cNvSpPr>
            <a:spLocks noGrp="1"/>
          </p:cNvSpPr>
          <p:nvPr>
            <p:ph type="subTitle" idx="1"/>
          </p:nvPr>
        </p:nvSpPr>
        <p:spPr bwMode="gray">
          <a:xfrm>
            <a:off x="749081" y="3168281"/>
            <a:ext cx="4377508" cy="465137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ct val="110000"/>
              </a:lnSpc>
              <a:buNone/>
              <a:defRPr sz="2000">
                <a:solidFill>
                  <a:schemeClr val="tx1"/>
                </a:solidFill>
              </a:defRPr>
            </a:lvl1pPr>
            <a:lvl2pPr marL="457154" indent="0" algn="ctr">
              <a:buNone/>
              <a:defRPr sz="2000"/>
            </a:lvl2pPr>
            <a:lvl3pPr marL="914309" indent="0" algn="ctr">
              <a:buNone/>
              <a:defRPr sz="1800"/>
            </a:lvl3pPr>
            <a:lvl4pPr marL="1371463" indent="0" algn="ctr">
              <a:buNone/>
              <a:defRPr sz="1600"/>
            </a:lvl4pPr>
            <a:lvl5pPr marL="1828617" indent="0" algn="ctr">
              <a:buNone/>
              <a:defRPr sz="1600"/>
            </a:lvl5pPr>
            <a:lvl6pPr marL="2285771" indent="0" algn="ctr">
              <a:buNone/>
              <a:defRPr sz="1600"/>
            </a:lvl6pPr>
            <a:lvl7pPr marL="2742926" indent="0" algn="ctr">
              <a:buNone/>
              <a:defRPr sz="1600"/>
            </a:lvl7pPr>
            <a:lvl8pPr marL="3200080" indent="0" algn="ctr">
              <a:buNone/>
              <a:defRPr sz="1600"/>
            </a:lvl8pPr>
            <a:lvl9pPr marL="3657234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</a:p>
        </p:txBody>
      </p:sp>
      <p:grpSp>
        <p:nvGrpSpPr>
          <p:cNvPr id="11" name="Gruppieren 10">
            <a:extLst>
              <a:ext uri="{FF2B5EF4-FFF2-40B4-BE49-F238E27FC236}">
                <a16:creationId xmlns:a16="http://schemas.microsoft.com/office/drawing/2014/main" id="{C64D20D1-EE3A-493F-A542-0580F3A29996}"/>
              </a:ext>
            </a:extLst>
          </p:cNvPr>
          <p:cNvGrpSpPr>
            <a:grpSpLocks noChangeAspect="1"/>
          </p:cNvGrpSpPr>
          <p:nvPr userDrawn="1"/>
        </p:nvGrpSpPr>
        <p:grpSpPr bwMode="gray">
          <a:xfrm>
            <a:off x="0" y="1655434"/>
            <a:ext cx="552451" cy="431801"/>
            <a:chOff x="1009650" y="6149976"/>
            <a:chExt cx="552451" cy="431800"/>
          </a:xfrm>
          <a:solidFill>
            <a:schemeClr val="accent1"/>
          </a:solidFill>
        </p:grpSpPr>
        <p:sp>
          <p:nvSpPr>
            <p:cNvPr id="12" name="Rectangle 5">
              <a:extLst>
                <a:ext uri="{FF2B5EF4-FFF2-40B4-BE49-F238E27FC236}">
                  <a16:creationId xmlns:a16="http://schemas.microsoft.com/office/drawing/2014/main" id="{20A73D22-A5C4-455A-91DE-327C5100479B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1501775" y="6149976"/>
              <a:ext cx="60325" cy="603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3" name="Rectangle 6">
              <a:extLst>
                <a:ext uri="{FF2B5EF4-FFF2-40B4-BE49-F238E27FC236}">
                  <a16:creationId xmlns:a16="http://schemas.microsoft.com/office/drawing/2014/main" id="{52F0F309-1143-4D88-96FB-C6F465C6461B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1255713" y="6149976"/>
              <a:ext cx="60325" cy="603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4" name="Freeform 7">
              <a:extLst>
                <a:ext uri="{FF2B5EF4-FFF2-40B4-BE49-F238E27FC236}">
                  <a16:creationId xmlns:a16="http://schemas.microsoft.com/office/drawing/2014/main" id="{6161A4D5-A139-4226-BB10-A748CE3C7D4F}"/>
                </a:ext>
              </a:extLst>
            </p:cNvPr>
            <p:cNvSpPr>
              <a:spLocks noEditPoints="1"/>
            </p:cNvSpPr>
            <p:nvPr userDrawn="1"/>
          </p:nvSpPr>
          <p:spPr bwMode="gray">
            <a:xfrm>
              <a:off x="1009650" y="6149976"/>
              <a:ext cx="430213" cy="431800"/>
            </a:xfrm>
            <a:custGeom>
              <a:avLst/>
              <a:gdLst>
                <a:gd name="T0" fmla="*/ 271 w 271"/>
                <a:gd name="T1" fmla="*/ 77 h 272"/>
                <a:gd name="T2" fmla="*/ 271 w 271"/>
                <a:gd name="T3" fmla="*/ 38 h 272"/>
                <a:gd name="T4" fmla="*/ 193 w 271"/>
                <a:gd name="T5" fmla="*/ 38 h 272"/>
                <a:gd name="T6" fmla="*/ 193 w 271"/>
                <a:gd name="T7" fmla="*/ 77 h 272"/>
                <a:gd name="T8" fmla="*/ 155 w 271"/>
                <a:gd name="T9" fmla="*/ 77 h 272"/>
                <a:gd name="T10" fmla="*/ 155 w 271"/>
                <a:gd name="T11" fmla="*/ 38 h 272"/>
                <a:gd name="T12" fmla="*/ 116 w 271"/>
                <a:gd name="T13" fmla="*/ 38 h 272"/>
                <a:gd name="T14" fmla="*/ 116 w 271"/>
                <a:gd name="T15" fmla="*/ 0 h 272"/>
                <a:gd name="T16" fmla="*/ 0 w 271"/>
                <a:gd name="T17" fmla="*/ 0 h 272"/>
                <a:gd name="T18" fmla="*/ 0 w 271"/>
                <a:gd name="T19" fmla="*/ 38 h 272"/>
                <a:gd name="T20" fmla="*/ 38 w 271"/>
                <a:gd name="T21" fmla="*/ 38 h 272"/>
                <a:gd name="T22" fmla="*/ 38 w 271"/>
                <a:gd name="T23" fmla="*/ 77 h 272"/>
                <a:gd name="T24" fmla="*/ 0 w 271"/>
                <a:gd name="T25" fmla="*/ 77 h 272"/>
                <a:gd name="T26" fmla="*/ 0 w 271"/>
                <a:gd name="T27" fmla="*/ 272 h 272"/>
                <a:gd name="T28" fmla="*/ 77 w 271"/>
                <a:gd name="T29" fmla="*/ 272 h 272"/>
                <a:gd name="T30" fmla="*/ 77 w 271"/>
                <a:gd name="T31" fmla="*/ 233 h 272"/>
                <a:gd name="T32" fmla="*/ 116 w 271"/>
                <a:gd name="T33" fmla="*/ 233 h 272"/>
                <a:gd name="T34" fmla="*/ 116 w 271"/>
                <a:gd name="T35" fmla="*/ 272 h 272"/>
                <a:gd name="T36" fmla="*/ 155 w 271"/>
                <a:gd name="T37" fmla="*/ 272 h 272"/>
                <a:gd name="T38" fmla="*/ 155 w 271"/>
                <a:gd name="T39" fmla="*/ 193 h 272"/>
                <a:gd name="T40" fmla="*/ 116 w 271"/>
                <a:gd name="T41" fmla="*/ 193 h 272"/>
                <a:gd name="T42" fmla="*/ 116 w 271"/>
                <a:gd name="T43" fmla="*/ 155 h 272"/>
                <a:gd name="T44" fmla="*/ 155 w 271"/>
                <a:gd name="T45" fmla="*/ 155 h 272"/>
                <a:gd name="T46" fmla="*/ 155 w 271"/>
                <a:gd name="T47" fmla="*/ 116 h 272"/>
                <a:gd name="T48" fmla="*/ 193 w 271"/>
                <a:gd name="T49" fmla="*/ 116 h 272"/>
                <a:gd name="T50" fmla="*/ 193 w 271"/>
                <a:gd name="T51" fmla="*/ 155 h 272"/>
                <a:gd name="T52" fmla="*/ 155 w 271"/>
                <a:gd name="T53" fmla="*/ 155 h 272"/>
                <a:gd name="T54" fmla="*/ 155 w 271"/>
                <a:gd name="T55" fmla="*/ 193 h 272"/>
                <a:gd name="T56" fmla="*/ 232 w 271"/>
                <a:gd name="T57" fmla="*/ 193 h 272"/>
                <a:gd name="T58" fmla="*/ 232 w 271"/>
                <a:gd name="T59" fmla="*/ 155 h 272"/>
                <a:gd name="T60" fmla="*/ 271 w 271"/>
                <a:gd name="T61" fmla="*/ 155 h 272"/>
                <a:gd name="T62" fmla="*/ 271 w 271"/>
                <a:gd name="T63" fmla="*/ 116 h 272"/>
                <a:gd name="T64" fmla="*/ 232 w 271"/>
                <a:gd name="T65" fmla="*/ 116 h 272"/>
                <a:gd name="T66" fmla="*/ 232 w 271"/>
                <a:gd name="T67" fmla="*/ 77 h 272"/>
                <a:gd name="T68" fmla="*/ 271 w 271"/>
                <a:gd name="T69" fmla="*/ 77 h 272"/>
                <a:gd name="T70" fmla="*/ 77 w 271"/>
                <a:gd name="T71" fmla="*/ 193 h 272"/>
                <a:gd name="T72" fmla="*/ 38 w 271"/>
                <a:gd name="T73" fmla="*/ 193 h 272"/>
                <a:gd name="T74" fmla="*/ 38 w 271"/>
                <a:gd name="T75" fmla="*/ 155 h 272"/>
                <a:gd name="T76" fmla="*/ 77 w 271"/>
                <a:gd name="T77" fmla="*/ 155 h 272"/>
                <a:gd name="T78" fmla="*/ 77 w 271"/>
                <a:gd name="T79" fmla="*/ 193 h 272"/>
                <a:gd name="T80" fmla="*/ 116 w 271"/>
                <a:gd name="T81" fmla="*/ 116 h 272"/>
                <a:gd name="T82" fmla="*/ 77 w 271"/>
                <a:gd name="T83" fmla="*/ 116 h 272"/>
                <a:gd name="T84" fmla="*/ 77 w 271"/>
                <a:gd name="T85" fmla="*/ 77 h 272"/>
                <a:gd name="T86" fmla="*/ 116 w 271"/>
                <a:gd name="T87" fmla="*/ 77 h 272"/>
                <a:gd name="T88" fmla="*/ 116 w 271"/>
                <a:gd name="T89" fmla="*/ 116 h 2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271" h="272">
                  <a:moveTo>
                    <a:pt x="271" y="77"/>
                  </a:moveTo>
                  <a:lnTo>
                    <a:pt x="271" y="38"/>
                  </a:lnTo>
                  <a:lnTo>
                    <a:pt x="193" y="38"/>
                  </a:lnTo>
                  <a:lnTo>
                    <a:pt x="193" y="77"/>
                  </a:lnTo>
                  <a:lnTo>
                    <a:pt x="155" y="77"/>
                  </a:lnTo>
                  <a:lnTo>
                    <a:pt x="155" y="38"/>
                  </a:lnTo>
                  <a:lnTo>
                    <a:pt x="116" y="38"/>
                  </a:lnTo>
                  <a:lnTo>
                    <a:pt x="116" y="0"/>
                  </a:lnTo>
                  <a:lnTo>
                    <a:pt x="0" y="0"/>
                  </a:lnTo>
                  <a:lnTo>
                    <a:pt x="0" y="38"/>
                  </a:lnTo>
                  <a:lnTo>
                    <a:pt x="38" y="38"/>
                  </a:lnTo>
                  <a:lnTo>
                    <a:pt x="38" y="77"/>
                  </a:lnTo>
                  <a:lnTo>
                    <a:pt x="0" y="77"/>
                  </a:lnTo>
                  <a:lnTo>
                    <a:pt x="0" y="272"/>
                  </a:lnTo>
                  <a:lnTo>
                    <a:pt x="77" y="272"/>
                  </a:lnTo>
                  <a:lnTo>
                    <a:pt x="77" y="233"/>
                  </a:lnTo>
                  <a:lnTo>
                    <a:pt x="116" y="233"/>
                  </a:lnTo>
                  <a:lnTo>
                    <a:pt x="116" y="272"/>
                  </a:lnTo>
                  <a:lnTo>
                    <a:pt x="155" y="272"/>
                  </a:lnTo>
                  <a:lnTo>
                    <a:pt x="155" y="193"/>
                  </a:lnTo>
                  <a:lnTo>
                    <a:pt x="116" y="193"/>
                  </a:lnTo>
                  <a:lnTo>
                    <a:pt x="116" y="155"/>
                  </a:lnTo>
                  <a:lnTo>
                    <a:pt x="155" y="155"/>
                  </a:lnTo>
                  <a:lnTo>
                    <a:pt x="155" y="116"/>
                  </a:lnTo>
                  <a:lnTo>
                    <a:pt x="193" y="116"/>
                  </a:lnTo>
                  <a:lnTo>
                    <a:pt x="193" y="155"/>
                  </a:lnTo>
                  <a:lnTo>
                    <a:pt x="155" y="155"/>
                  </a:lnTo>
                  <a:lnTo>
                    <a:pt x="155" y="193"/>
                  </a:lnTo>
                  <a:lnTo>
                    <a:pt x="232" y="193"/>
                  </a:lnTo>
                  <a:lnTo>
                    <a:pt x="232" y="155"/>
                  </a:lnTo>
                  <a:lnTo>
                    <a:pt x="271" y="155"/>
                  </a:lnTo>
                  <a:lnTo>
                    <a:pt x="271" y="116"/>
                  </a:lnTo>
                  <a:lnTo>
                    <a:pt x="232" y="116"/>
                  </a:lnTo>
                  <a:lnTo>
                    <a:pt x="232" y="77"/>
                  </a:lnTo>
                  <a:lnTo>
                    <a:pt x="271" y="77"/>
                  </a:lnTo>
                  <a:close/>
                  <a:moveTo>
                    <a:pt x="77" y="193"/>
                  </a:moveTo>
                  <a:lnTo>
                    <a:pt x="38" y="193"/>
                  </a:lnTo>
                  <a:lnTo>
                    <a:pt x="38" y="155"/>
                  </a:lnTo>
                  <a:lnTo>
                    <a:pt x="77" y="155"/>
                  </a:lnTo>
                  <a:lnTo>
                    <a:pt x="77" y="193"/>
                  </a:lnTo>
                  <a:close/>
                  <a:moveTo>
                    <a:pt x="116" y="116"/>
                  </a:moveTo>
                  <a:lnTo>
                    <a:pt x="77" y="116"/>
                  </a:lnTo>
                  <a:lnTo>
                    <a:pt x="77" y="77"/>
                  </a:lnTo>
                  <a:lnTo>
                    <a:pt x="116" y="77"/>
                  </a:lnTo>
                  <a:lnTo>
                    <a:pt x="116" y="11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5" name="Rectangle 8">
              <a:extLst>
                <a:ext uri="{FF2B5EF4-FFF2-40B4-BE49-F238E27FC236}">
                  <a16:creationId xmlns:a16="http://schemas.microsoft.com/office/drawing/2014/main" id="{231658D7-CF56-4977-9FE9-A741E0631348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1439863" y="6272213"/>
              <a:ext cx="61913" cy="619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6" name="Rectangle 9">
              <a:extLst>
                <a:ext uri="{FF2B5EF4-FFF2-40B4-BE49-F238E27FC236}">
                  <a16:creationId xmlns:a16="http://schemas.microsoft.com/office/drawing/2014/main" id="{99E82B51-2298-4155-A8DD-6FDE599AEAB7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1501775" y="6334126"/>
              <a:ext cx="60325" cy="619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7" name="Freeform 10">
              <a:extLst>
                <a:ext uri="{FF2B5EF4-FFF2-40B4-BE49-F238E27FC236}">
                  <a16:creationId xmlns:a16="http://schemas.microsoft.com/office/drawing/2014/main" id="{C82FDD3E-9F1C-4B83-8F67-3AFE972B2D06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1439863" y="6456363"/>
              <a:ext cx="122238" cy="125413"/>
            </a:xfrm>
            <a:custGeom>
              <a:avLst/>
              <a:gdLst>
                <a:gd name="T0" fmla="*/ 39 w 77"/>
                <a:gd name="T1" fmla="*/ 0 h 79"/>
                <a:gd name="T2" fmla="*/ 0 w 77"/>
                <a:gd name="T3" fmla="*/ 0 h 79"/>
                <a:gd name="T4" fmla="*/ 0 w 77"/>
                <a:gd name="T5" fmla="*/ 40 h 79"/>
                <a:gd name="T6" fmla="*/ 39 w 77"/>
                <a:gd name="T7" fmla="*/ 40 h 79"/>
                <a:gd name="T8" fmla="*/ 39 w 77"/>
                <a:gd name="T9" fmla="*/ 79 h 79"/>
                <a:gd name="T10" fmla="*/ 77 w 77"/>
                <a:gd name="T11" fmla="*/ 79 h 79"/>
                <a:gd name="T12" fmla="*/ 77 w 77"/>
                <a:gd name="T13" fmla="*/ 40 h 79"/>
                <a:gd name="T14" fmla="*/ 39 w 77"/>
                <a:gd name="T15" fmla="*/ 40 h 79"/>
                <a:gd name="T16" fmla="*/ 39 w 77"/>
                <a:gd name="T17" fmla="*/ 0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7" h="79">
                  <a:moveTo>
                    <a:pt x="39" y="0"/>
                  </a:moveTo>
                  <a:lnTo>
                    <a:pt x="0" y="0"/>
                  </a:lnTo>
                  <a:lnTo>
                    <a:pt x="0" y="40"/>
                  </a:lnTo>
                  <a:lnTo>
                    <a:pt x="39" y="40"/>
                  </a:lnTo>
                  <a:lnTo>
                    <a:pt x="39" y="79"/>
                  </a:lnTo>
                  <a:lnTo>
                    <a:pt x="77" y="79"/>
                  </a:lnTo>
                  <a:lnTo>
                    <a:pt x="77" y="40"/>
                  </a:lnTo>
                  <a:lnTo>
                    <a:pt x="39" y="40"/>
                  </a:lnTo>
                  <a:lnTo>
                    <a:pt x="39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8" name="Rectangle 11">
              <a:extLst>
                <a:ext uri="{FF2B5EF4-FFF2-40B4-BE49-F238E27FC236}">
                  <a16:creationId xmlns:a16="http://schemas.microsoft.com/office/drawing/2014/main" id="{F8CDD1DC-92CB-47D2-B9B4-842607B4F070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1316038" y="6519863"/>
              <a:ext cx="61913" cy="619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</p:spTree>
    <p:extLst>
      <p:ext uri="{BB962C8B-B14F-4D97-AF65-F5344CB8AC3E}">
        <p14:creationId xmlns:p14="http://schemas.microsoft.com/office/powerpoint/2010/main" val="41417275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spd="slow">
        <p:split orient="vert"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EL &amp; UNTER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Freihandform: Form 34">
            <a:extLst>
              <a:ext uri="{FF2B5EF4-FFF2-40B4-BE49-F238E27FC236}">
                <a16:creationId xmlns:a16="http://schemas.microsoft.com/office/drawing/2014/main" id="{4AD62D81-8C3D-4AB6-85FE-D1ADDFBE7471}"/>
              </a:ext>
            </a:extLst>
          </p:cNvPr>
          <p:cNvSpPr>
            <a:spLocks noChangeAspect="1"/>
          </p:cNvSpPr>
          <p:nvPr userDrawn="1"/>
        </p:nvSpPr>
        <p:spPr bwMode="gray">
          <a:xfrm rot="5400000" flipH="1">
            <a:off x="4662860" y="-669555"/>
            <a:ext cx="2864695" cy="12190415"/>
          </a:xfrm>
          <a:custGeom>
            <a:avLst/>
            <a:gdLst>
              <a:gd name="connsiteX0" fmla="*/ 2864695 w 2864695"/>
              <a:gd name="connsiteY0" fmla="*/ 0 h 12190415"/>
              <a:gd name="connsiteX1" fmla="*/ 0 w 2864695"/>
              <a:gd name="connsiteY1" fmla="*/ 0 h 12190415"/>
              <a:gd name="connsiteX2" fmla="*/ 1 w 2864695"/>
              <a:gd name="connsiteY2" fmla="*/ 12190415 h 12190415"/>
              <a:gd name="connsiteX3" fmla="*/ 1535709 w 2864695"/>
              <a:gd name="connsiteY3" fmla="*/ 12190415 h 121904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864695" h="12190415">
                <a:moveTo>
                  <a:pt x="2864695" y="0"/>
                </a:moveTo>
                <a:lnTo>
                  <a:pt x="0" y="0"/>
                </a:lnTo>
                <a:lnTo>
                  <a:pt x="1" y="12190415"/>
                </a:lnTo>
                <a:lnTo>
                  <a:pt x="1535709" y="12190415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noAutofit/>
          </a:bodyPr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endParaRPr lang="de-DE"/>
          </a:p>
        </p:txBody>
      </p:sp>
      <p:sp>
        <p:nvSpPr>
          <p:cNvPr id="19" name="Rechteck 18">
            <a:extLst>
              <a:ext uri="{FF2B5EF4-FFF2-40B4-BE49-F238E27FC236}">
                <a16:creationId xmlns:a16="http://schemas.microsoft.com/office/drawing/2014/main" id="{BAEC90D3-F28F-41C9-8937-FBFC7A384E49}"/>
              </a:ext>
            </a:extLst>
          </p:cNvPr>
          <p:cNvSpPr/>
          <p:nvPr userDrawn="1"/>
        </p:nvSpPr>
        <p:spPr bwMode="gray">
          <a:xfrm>
            <a:off x="0" y="0"/>
            <a:ext cx="12190413" cy="3429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endParaRPr lang="de-DE"/>
          </a:p>
        </p:txBody>
      </p:sp>
      <p:sp>
        <p:nvSpPr>
          <p:cNvPr id="7" name="Foliennummer">
            <a:extLst>
              <a:ext uri="{FF2B5EF4-FFF2-40B4-BE49-F238E27FC236}">
                <a16:creationId xmlns:a16="http://schemas.microsoft.com/office/drawing/2014/main" id="{7D26E7B9-36FB-4738-B438-B515BAF9866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11181600" y="6277176"/>
            <a:ext cx="468000" cy="216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lang="de-DE" sz="1000" b="1" kern="1200" smtClean="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1pPr>
          </a:lstStyle>
          <a:p>
            <a:fld id="{02CEFE82-39F2-4F47-8A0C-D5AB3496FA5C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8E8AC66E-3F23-4946-9308-8A2E58CDA93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540000" y="6277176"/>
            <a:ext cx="4633980" cy="216000"/>
          </a:xfrm>
          <a:prstGeom prst="rect">
            <a:avLst/>
          </a:prstGeom>
        </p:spPr>
        <p:txBody>
          <a:bodyPr lIns="0" tIns="0" rIns="0" bIns="0" anchor="b" anchorCtr="0"/>
          <a:lstStyle>
            <a:lvl1pPr>
              <a:defRPr sz="1000"/>
            </a:lvl1pPr>
          </a:lstStyle>
          <a:p>
            <a:r>
              <a:rPr lang="de-DE"/>
              <a:t>Smart Clinic – Auf dem Weg zum digitalen Vorreiter</a:t>
            </a:r>
          </a:p>
        </p:txBody>
      </p:sp>
      <p:sp>
        <p:nvSpPr>
          <p:cNvPr id="9" name="Datum">
            <a:extLst>
              <a:ext uri="{FF2B5EF4-FFF2-40B4-BE49-F238E27FC236}">
                <a16:creationId xmlns:a16="http://schemas.microsoft.com/office/drawing/2014/main" id="{576BE0DE-93D5-4FB5-90CB-5EA993567A40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5375206" y="6277176"/>
            <a:ext cx="1440000" cy="216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>
              <a:defRPr sz="1000">
                <a:solidFill>
                  <a:schemeClr val="tx1"/>
                </a:solidFill>
              </a:defRPr>
            </a:lvl1pPr>
          </a:lstStyle>
          <a:p>
            <a:endParaRPr lang="de-DE"/>
          </a:p>
        </p:txBody>
      </p:sp>
      <p:grpSp>
        <p:nvGrpSpPr>
          <p:cNvPr id="11" name="Gruppieren 10">
            <a:extLst>
              <a:ext uri="{FF2B5EF4-FFF2-40B4-BE49-F238E27FC236}">
                <a16:creationId xmlns:a16="http://schemas.microsoft.com/office/drawing/2014/main" id="{0536A7F7-711D-467F-A1CC-7B2BB2C94403}"/>
              </a:ext>
            </a:extLst>
          </p:cNvPr>
          <p:cNvGrpSpPr>
            <a:grpSpLocks noChangeAspect="1"/>
          </p:cNvGrpSpPr>
          <p:nvPr userDrawn="1"/>
        </p:nvGrpSpPr>
        <p:grpSpPr bwMode="gray">
          <a:xfrm>
            <a:off x="0" y="1653839"/>
            <a:ext cx="552451" cy="431801"/>
            <a:chOff x="1009650" y="6149976"/>
            <a:chExt cx="552451" cy="431800"/>
          </a:xfrm>
          <a:solidFill>
            <a:schemeClr val="accent1"/>
          </a:solidFill>
        </p:grpSpPr>
        <p:sp>
          <p:nvSpPr>
            <p:cNvPr id="12" name="Rectangle 5">
              <a:extLst>
                <a:ext uri="{FF2B5EF4-FFF2-40B4-BE49-F238E27FC236}">
                  <a16:creationId xmlns:a16="http://schemas.microsoft.com/office/drawing/2014/main" id="{9147F8A1-DF39-43E4-A18C-85B76627D74F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1501775" y="6149976"/>
              <a:ext cx="60325" cy="603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3" name="Rectangle 6">
              <a:extLst>
                <a:ext uri="{FF2B5EF4-FFF2-40B4-BE49-F238E27FC236}">
                  <a16:creationId xmlns:a16="http://schemas.microsoft.com/office/drawing/2014/main" id="{E3278A85-F0E0-45B2-A22D-B9DC73C9FD41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1255713" y="6149976"/>
              <a:ext cx="60325" cy="603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4" name="Freeform 7">
              <a:extLst>
                <a:ext uri="{FF2B5EF4-FFF2-40B4-BE49-F238E27FC236}">
                  <a16:creationId xmlns:a16="http://schemas.microsoft.com/office/drawing/2014/main" id="{21D14429-1C1B-49C1-95D8-B7BCDD9E9B9D}"/>
                </a:ext>
              </a:extLst>
            </p:cNvPr>
            <p:cNvSpPr>
              <a:spLocks noEditPoints="1"/>
            </p:cNvSpPr>
            <p:nvPr userDrawn="1"/>
          </p:nvSpPr>
          <p:spPr bwMode="gray">
            <a:xfrm>
              <a:off x="1009650" y="6149976"/>
              <a:ext cx="430213" cy="431800"/>
            </a:xfrm>
            <a:custGeom>
              <a:avLst/>
              <a:gdLst>
                <a:gd name="T0" fmla="*/ 271 w 271"/>
                <a:gd name="T1" fmla="*/ 77 h 272"/>
                <a:gd name="T2" fmla="*/ 271 w 271"/>
                <a:gd name="T3" fmla="*/ 38 h 272"/>
                <a:gd name="T4" fmla="*/ 193 w 271"/>
                <a:gd name="T5" fmla="*/ 38 h 272"/>
                <a:gd name="T6" fmla="*/ 193 w 271"/>
                <a:gd name="T7" fmla="*/ 77 h 272"/>
                <a:gd name="T8" fmla="*/ 155 w 271"/>
                <a:gd name="T9" fmla="*/ 77 h 272"/>
                <a:gd name="T10" fmla="*/ 155 w 271"/>
                <a:gd name="T11" fmla="*/ 38 h 272"/>
                <a:gd name="T12" fmla="*/ 116 w 271"/>
                <a:gd name="T13" fmla="*/ 38 h 272"/>
                <a:gd name="T14" fmla="*/ 116 w 271"/>
                <a:gd name="T15" fmla="*/ 0 h 272"/>
                <a:gd name="T16" fmla="*/ 0 w 271"/>
                <a:gd name="T17" fmla="*/ 0 h 272"/>
                <a:gd name="T18" fmla="*/ 0 w 271"/>
                <a:gd name="T19" fmla="*/ 38 h 272"/>
                <a:gd name="T20" fmla="*/ 38 w 271"/>
                <a:gd name="T21" fmla="*/ 38 h 272"/>
                <a:gd name="T22" fmla="*/ 38 w 271"/>
                <a:gd name="T23" fmla="*/ 77 h 272"/>
                <a:gd name="T24" fmla="*/ 0 w 271"/>
                <a:gd name="T25" fmla="*/ 77 h 272"/>
                <a:gd name="T26" fmla="*/ 0 w 271"/>
                <a:gd name="T27" fmla="*/ 272 h 272"/>
                <a:gd name="T28" fmla="*/ 77 w 271"/>
                <a:gd name="T29" fmla="*/ 272 h 272"/>
                <a:gd name="T30" fmla="*/ 77 w 271"/>
                <a:gd name="T31" fmla="*/ 233 h 272"/>
                <a:gd name="T32" fmla="*/ 116 w 271"/>
                <a:gd name="T33" fmla="*/ 233 h 272"/>
                <a:gd name="T34" fmla="*/ 116 w 271"/>
                <a:gd name="T35" fmla="*/ 272 h 272"/>
                <a:gd name="T36" fmla="*/ 155 w 271"/>
                <a:gd name="T37" fmla="*/ 272 h 272"/>
                <a:gd name="T38" fmla="*/ 155 w 271"/>
                <a:gd name="T39" fmla="*/ 193 h 272"/>
                <a:gd name="T40" fmla="*/ 116 w 271"/>
                <a:gd name="T41" fmla="*/ 193 h 272"/>
                <a:gd name="T42" fmla="*/ 116 w 271"/>
                <a:gd name="T43" fmla="*/ 155 h 272"/>
                <a:gd name="T44" fmla="*/ 155 w 271"/>
                <a:gd name="T45" fmla="*/ 155 h 272"/>
                <a:gd name="T46" fmla="*/ 155 w 271"/>
                <a:gd name="T47" fmla="*/ 116 h 272"/>
                <a:gd name="T48" fmla="*/ 193 w 271"/>
                <a:gd name="T49" fmla="*/ 116 h 272"/>
                <a:gd name="T50" fmla="*/ 193 w 271"/>
                <a:gd name="T51" fmla="*/ 155 h 272"/>
                <a:gd name="T52" fmla="*/ 155 w 271"/>
                <a:gd name="T53" fmla="*/ 155 h 272"/>
                <a:gd name="T54" fmla="*/ 155 w 271"/>
                <a:gd name="T55" fmla="*/ 193 h 272"/>
                <a:gd name="T56" fmla="*/ 232 w 271"/>
                <a:gd name="T57" fmla="*/ 193 h 272"/>
                <a:gd name="T58" fmla="*/ 232 w 271"/>
                <a:gd name="T59" fmla="*/ 155 h 272"/>
                <a:gd name="T60" fmla="*/ 271 w 271"/>
                <a:gd name="T61" fmla="*/ 155 h 272"/>
                <a:gd name="T62" fmla="*/ 271 w 271"/>
                <a:gd name="T63" fmla="*/ 116 h 272"/>
                <a:gd name="T64" fmla="*/ 232 w 271"/>
                <a:gd name="T65" fmla="*/ 116 h 272"/>
                <a:gd name="T66" fmla="*/ 232 w 271"/>
                <a:gd name="T67" fmla="*/ 77 h 272"/>
                <a:gd name="T68" fmla="*/ 271 w 271"/>
                <a:gd name="T69" fmla="*/ 77 h 272"/>
                <a:gd name="T70" fmla="*/ 77 w 271"/>
                <a:gd name="T71" fmla="*/ 193 h 272"/>
                <a:gd name="T72" fmla="*/ 38 w 271"/>
                <a:gd name="T73" fmla="*/ 193 h 272"/>
                <a:gd name="T74" fmla="*/ 38 w 271"/>
                <a:gd name="T75" fmla="*/ 155 h 272"/>
                <a:gd name="T76" fmla="*/ 77 w 271"/>
                <a:gd name="T77" fmla="*/ 155 h 272"/>
                <a:gd name="T78" fmla="*/ 77 w 271"/>
                <a:gd name="T79" fmla="*/ 193 h 272"/>
                <a:gd name="T80" fmla="*/ 116 w 271"/>
                <a:gd name="T81" fmla="*/ 116 h 272"/>
                <a:gd name="T82" fmla="*/ 77 w 271"/>
                <a:gd name="T83" fmla="*/ 116 h 272"/>
                <a:gd name="T84" fmla="*/ 77 w 271"/>
                <a:gd name="T85" fmla="*/ 77 h 272"/>
                <a:gd name="T86" fmla="*/ 116 w 271"/>
                <a:gd name="T87" fmla="*/ 77 h 272"/>
                <a:gd name="T88" fmla="*/ 116 w 271"/>
                <a:gd name="T89" fmla="*/ 116 h 2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271" h="272">
                  <a:moveTo>
                    <a:pt x="271" y="77"/>
                  </a:moveTo>
                  <a:lnTo>
                    <a:pt x="271" y="38"/>
                  </a:lnTo>
                  <a:lnTo>
                    <a:pt x="193" y="38"/>
                  </a:lnTo>
                  <a:lnTo>
                    <a:pt x="193" y="77"/>
                  </a:lnTo>
                  <a:lnTo>
                    <a:pt x="155" y="77"/>
                  </a:lnTo>
                  <a:lnTo>
                    <a:pt x="155" y="38"/>
                  </a:lnTo>
                  <a:lnTo>
                    <a:pt x="116" y="38"/>
                  </a:lnTo>
                  <a:lnTo>
                    <a:pt x="116" y="0"/>
                  </a:lnTo>
                  <a:lnTo>
                    <a:pt x="0" y="0"/>
                  </a:lnTo>
                  <a:lnTo>
                    <a:pt x="0" y="38"/>
                  </a:lnTo>
                  <a:lnTo>
                    <a:pt x="38" y="38"/>
                  </a:lnTo>
                  <a:lnTo>
                    <a:pt x="38" y="77"/>
                  </a:lnTo>
                  <a:lnTo>
                    <a:pt x="0" y="77"/>
                  </a:lnTo>
                  <a:lnTo>
                    <a:pt x="0" y="272"/>
                  </a:lnTo>
                  <a:lnTo>
                    <a:pt x="77" y="272"/>
                  </a:lnTo>
                  <a:lnTo>
                    <a:pt x="77" y="233"/>
                  </a:lnTo>
                  <a:lnTo>
                    <a:pt x="116" y="233"/>
                  </a:lnTo>
                  <a:lnTo>
                    <a:pt x="116" y="272"/>
                  </a:lnTo>
                  <a:lnTo>
                    <a:pt x="155" y="272"/>
                  </a:lnTo>
                  <a:lnTo>
                    <a:pt x="155" y="193"/>
                  </a:lnTo>
                  <a:lnTo>
                    <a:pt x="116" y="193"/>
                  </a:lnTo>
                  <a:lnTo>
                    <a:pt x="116" y="155"/>
                  </a:lnTo>
                  <a:lnTo>
                    <a:pt x="155" y="155"/>
                  </a:lnTo>
                  <a:lnTo>
                    <a:pt x="155" y="116"/>
                  </a:lnTo>
                  <a:lnTo>
                    <a:pt x="193" y="116"/>
                  </a:lnTo>
                  <a:lnTo>
                    <a:pt x="193" y="155"/>
                  </a:lnTo>
                  <a:lnTo>
                    <a:pt x="155" y="155"/>
                  </a:lnTo>
                  <a:lnTo>
                    <a:pt x="155" y="193"/>
                  </a:lnTo>
                  <a:lnTo>
                    <a:pt x="232" y="193"/>
                  </a:lnTo>
                  <a:lnTo>
                    <a:pt x="232" y="155"/>
                  </a:lnTo>
                  <a:lnTo>
                    <a:pt x="271" y="155"/>
                  </a:lnTo>
                  <a:lnTo>
                    <a:pt x="271" y="116"/>
                  </a:lnTo>
                  <a:lnTo>
                    <a:pt x="232" y="116"/>
                  </a:lnTo>
                  <a:lnTo>
                    <a:pt x="232" y="77"/>
                  </a:lnTo>
                  <a:lnTo>
                    <a:pt x="271" y="77"/>
                  </a:lnTo>
                  <a:close/>
                  <a:moveTo>
                    <a:pt x="77" y="193"/>
                  </a:moveTo>
                  <a:lnTo>
                    <a:pt x="38" y="193"/>
                  </a:lnTo>
                  <a:lnTo>
                    <a:pt x="38" y="155"/>
                  </a:lnTo>
                  <a:lnTo>
                    <a:pt x="77" y="155"/>
                  </a:lnTo>
                  <a:lnTo>
                    <a:pt x="77" y="193"/>
                  </a:lnTo>
                  <a:close/>
                  <a:moveTo>
                    <a:pt x="116" y="116"/>
                  </a:moveTo>
                  <a:lnTo>
                    <a:pt x="77" y="116"/>
                  </a:lnTo>
                  <a:lnTo>
                    <a:pt x="77" y="77"/>
                  </a:lnTo>
                  <a:lnTo>
                    <a:pt x="116" y="77"/>
                  </a:lnTo>
                  <a:lnTo>
                    <a:pt x="116" y="11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5" name="Rectangle 8">
              <a:extLst>
                <a:ext uri="{FF2B5EF4-FFF2-40B4-BE49-F238E27FC236}">
                  <a16:creationId xmlns:a16="http://schemas.microsoft.com/office/drawing/2014/main" id="{9C654C42-9808-4E57-B5E3-E409B95B9C50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1439863" y="6272213"/>
              <a:ext cx="61913" cy="619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6" name="Rectangle 9">
              <a:extLst>
                <a:ext uri="{FF2B5EF4-FFF2-40B4-BE49-F238E27FC236}">
                  <a16:creationId xmlns:a16="http://schemas.microsoft.com/office/drawing/2014/main" id="{F33F2CCD-21F1-45C5-908E-E6889F644A21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1501775" y="6334126"/>
              <a:ext cx="60325" cy="619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7" name="Freeform 10">
              <a:extLst>
                <a:ext uri="{FF2B5EF4-FFF2-40B4-BE49-F238E27FC236}">
                  <a16:creationId xmlns:a16="http://schemas.microsoft.com/office/drawing/2014/main" id="{9D1F4EF7-B5CF-461C-890E-2238191A281C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1439863" y="6456363"/>
              <a:ext cx="122238" cy="125413"/>
            </a:xfrm>
            <a:custGeom>
              <a:avLst/>
              <a:gdLst>
                <a:gd name="T0" fmla="*/ 39 w 77"/>
                <a:gd name="T1" fmla="*/ 0 h 79"/>
                <a:gd name="T2" fmla="*/ 0 w 77"/>
                <a:gd name="T3" fmla="*/ 0 h 79"/>
                <a:gd name="T4" fmla="*/ 0 w 77"/>
                <a:gd name="T5" fmla="*/ 40 h 79"/>
                <a:gd name="T6" fmla="*/ 39 w 77"/>
                <a:gd name="T7" fmla="*/ 40 h 79"/>
                <a:gd name="T8" fmla="*/ 39 w 77"/>
                <a:gd name="T9" fmla="*/ 79 h 79"/>
                <a:gd name="T10" fmla="*/ 77 w 77"/>
                <a:gd name="T11" fmla="*/ 79 h 79"/>
                <a:gd name="T12" fmla="*/ 77 w 77"/>
                <a:gd name="T13" fmla="*/ 40 h 79"/>
                <a:gd name="T14" fmla="*/ 39 w 77"/>
                <a:gd name="T15" fmla="*/ 40 h 79"/>
                <a:gd name="T16" fmla="*/ 39 w 77"/>
                <a:gd name="T17" fmla="*/ 0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7" h="79">
                  <a:moveTo>
                    <a:pt x="39" y="0"/>
                  </a:moveTo>
                  <a:lnTo>
                    <a:pt x="0" y="0"/>
                  </a:lnTo>
                  <a:lnTo>
                    <a:pt x="0" y="40"/>
                  </a:lnTo>
                  <a:lnTo>
                    <a:pt x="39" y="40"/>
                  </a:lnTo>
                  <a:lnTo>
                    <a:pt x="39" y="79"/>
                  </a:lnTo>
                  <a:lnTo>
                    <a:pt x="77" y="79"/>
                  </a:lnTo>
                  <a:lnTo>
                    <a:pt x="77" y="40"/>
                  </a:lnTo>
                  <a:lnTo>
                    <a:pt x="39" y="40"/>
                  </a:lnTo>
                  <a:lnTo>
                    <a:pt x="39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8" name="Rectangle 11">
              <a:extLst>
                <a:ext uri="{FF2B5EF4-FFF2-40B4-BE49-F238E27FC236}">
                  <a16:creationId xmlns:a16="http://schemas.microsoft.com/office/drawing/2014/main" id="{E82B2A97-A730-453E-A9E1-D9B2B41F85F7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1316038" y="6519863"/>
              <a:ext cx="61913" cy="619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  <p:sp>
        <p:nvSpPr>
          <p:cNvPr id="20" name="Titel 1">
            <a:extLst>
              <a:ext uri="{FF2B5EF4-FFF2-40B4-BE49-F238E27FC236}">
                <a16:creationId xmlns:a16="http://schemas.microsoft.com/office/drawing/2014/main" id="{8EEF7C58-DBFD-41AB-882C-1A04F88F0F39}"/>
              </a:ext>
            </a:extLst>
          </p:cNvPr>
          <p:cNvSpPr>
            <a:spLocks noGrp="1"/>
          </p:cNvSpPr>
          <p:nvPr>
            <p:ph type="ctrTitle"/>
          </p:nvPr>
        </p:nvSpPr>
        <p:spPr bwMode="gray">
          <a:xfrm>
            <a:off x="749080" y="1537341"/>
            <a:ext cx="4902198" cy="1329595"/>
          </a:xfrm>
          <a:prstGeom prst="rect">
            <a:avLst/>
          </a:prstGeom>
        </p:spPr>
        <p:txBody>
          <a:bodyPr anchor="t" anchorCtr="0">
            <a:spAutoFit/>
          </a:bodyPr>
          <a:lstStyle>
            <a:lvl1pPr algn="l">
              <a:defRPr sz="4800" b="0">
                <a:solidFill>
                  <a:schemeClr val="tx1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grpSp>
        <p:nvGrpSpPr>
          <p:cNvPr id="21" name="Gruppieren 20">
            <a:extLst>
              <a:ext uri="{FF2B5EF4-FFF2-40B4-BE49-F238E27FC236}">
                <a16:creationId xmlns:a16="http://schemas.microsoft.com/office/drawing/2014/main" id="{AA3054C2-104B-43C0-8A44-013C6C6FD736}"/>
              </a:ext>
            </a:extLst>
          </p:cNvPr>
          <p:cNvGrpSpPr/>
          <p:nvPr userDrawn="1"/>
        </p:nvGrpSpPr>
        <p:grpSpPr bwMode="gray">
          <a:xfrm>
            <a:off x="10059991" y="523875"/>
            <a:ext cx="1589088" cy="593725"/>
            <a:chOff x="10059991" y="523875"/>
            <a:chExt cx="1589088" cy="593725"/>
          </a:xfrm>
        </p:grpSpPr>
        <p:pic>
          <p:nvPicPr>
            <p:cNvPr id="22" name="Grafik 21">
              <a:extLst>
                <a:ext uri="{FF2B5EF4-FFF2-40B4-BE49-F238E27FC236}">
                  <a16:creationId xmlns:a16="http://schemas.microsoft.com/office/drawing/2014/main" id="{5F0FF819-AC62-44EC-9C0C-1ECF6F96CBE0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/>
            <a:srcRect b="11159"/>
            <a:stretch/>
          </p:blipFill>
          <p:spPr bwMode="gray">
            <a:xfrm>
              <a:off x="10521315" y="859154"/>
              <a:ext cx="59055" cy="60961"/>
            </a:xfrm>
            <a:prstGeom prst="rect">
              <a:avLst/>
            </a:prstGeom>
          </p:spPr>
        </p:pic>
        <p:grpSp>
          <p:nvGrpSpPr>
            <p:cNvPr id="23" name="Group 4">
              <a:extLst>
                <a:ext uri="{FF2B5EF4-FFF2-40B4-BE49-F238E27FC236}">
                  <a16:creationId xmlns:a16="http://schemas.microsoft.com/office/drawing/2014/main" id="{EC005DD8-62CB-4A95-A427-435A93182F8D}"/>
                </a:ext>
              </a:extLst>
            </p:cNvPr>
            <p:cNvGrpSpPr>
              <a:grpSpLocks noChangeAspect="1"/>
            </p:cNvGrpSpPr>
            <p:nvPr userDrawn="1"/>
          </p:nvGrpSpPr>
          <p:grpSpPr bwMode="gray">
            <a:xfrm>
              <a:off x="10059991" y="523875"/>
              <a:ext cx="1589088" cy="593725"/>
              <a:chOff x="6337" y="330"/>
              <a:chExt cx="1001" cy="374"/>
            </a:xfrm>
            <a:solidFill>
              <a:schemeClr val="accent1"/>
            </a:solidFill>
          </p:grpSpPr>
          <p:sp>
            <p:nvSpPr>
              <p:cNvPr id="24" name="Freeform 5">
                <a:extLst>
                  <a:ext uri="{FF2B5EF4-FFF2-40B4-BE49-F238E27FC236}">
                    <a16:creationId xmlns:a16="http://schemas.microsoft.com/office/drawing/2014/main" id="{5859DAA7-45E5-4BD9-8B0C-EC90FB3C40A2}"/>
                  </a:ext>
                </a:extLst>
              </p:cNvPr>
              <p:cNvSpPr>
                <a:spLocks noEditPoints="1"/>
              </p:cNvSpPr>
              <p:nvPr userDrawn="1"/>
            </p:nvSpPr>
            <p:spPr bwMode="gray">
              <a:xfrm>
                <a:off x="6340" y="388"/>
                <a:ext cx="997" cy="195"/>
              </a:xfrm>
              <a:custGeom>
                <a:avLst/>
                <a:gdLst>
                  <a:gd name="T0" fmla="*/ 236 w 1284"/>
                  <a:gd name="T1" fmla="*/ 17 h 250"/>
                  <a:gd name="T2" fmla="*/ 98 w 1284"/>
                  <a:gd name="T3" fmla="*/ 17 h 250"/>
                  <a:gd name="T4" fmla="*/ 0 w 1284"/>
                  <a:gd name="T5" fmla="*/ 116 h 250"/>
                  <a:gd name="T6" fmla="*/ 56 w 1284"/>
                  <a:gd name="T7" fmla="*/ 244 h 250"/>
                  <a:gd name="T8" fmla="*/ 68 w 1284"/>
                  <a:gd name="T9" fmla="*/ 81 h 250"/>
                  <a:gd name="T10" fmla="*/ 128 w 1284"/>
                  <a:gd name="T11" fmla="*/ 81 h 250"/>
                  <a:gd name="T12" fmla="*/ 139 w 1284"/>
                  <a:gd name="T13" fmla="*/ 116 h 250"/>
                  <a:gd name="T14" fmla="*/ 196 w 1284"/>
                  <a:gd name="T15" fmla="*/ 244 h 250"/>
                  <a:gd name="T16" fmla="*/ 195 w 1284"/>
                  <a:gd name="T17" fmla="*/ 107 h 250"/>
                  <a:gd name="T18" fmla="*/ 236 w 1284"/>
                  <a:gd name="T19" fmla="*/ 69 h 250"/>
                  <a:gd name="T20" fmla="*/ 279 w 1284"/>
                  <a:gd name="T21" fmla="*/ 112 h 250"/>
                  <a:gd name="T22" fmla="*/ 335 w 1284"/>
                  <a:gd name="T23" fmla="*/ 244 h 250"/>
                  <a:gd name="T24" fmla="*/ 307 w 1284"/>
                  <a:gd name="T25" fmla="*/ 44 h 250"/>
                  <a:gd name="T26" fmla="*/ 477 w 1284"/>
                  <a:gd name="T27" fmla="*/ 129 h 250"/>
                  <a:gd name="T28" fmla="*/ 485 w 1284"/>
                  <a:gd name="T29" fmla="*/ 120 h 250"/>
                  <a:gd name="T30" fmla="*/ 477 w 1284"/>
                  <a:gd name="T31" fmla="*/ 102 h 250"/>
                  <a:gd name="T32" fmla="*/ 486 w 1284"/>
                  <a:gd name="T33" fmla="*/ 111 h 250"/>
                  <a:gd name="T34" fmla="*/ 477 w 1284"/>
                  <a:gd name="T35" fmla="*/ 102 h 250"/>
                  <a:gd name="T36" fmla="*/ 506 w 1284"/>
                  <a:gd name="T37" fmla="*/ 103 h 250"/>
                  <a:gd name="T38" fmla="*/ 515 w 1284"/>
                  <a:gd name="T39" fmla="*/ 95 h 250"/>
                  <a:gd name="T40" fmla="*/ 455 w 1284"/>
                  <a:gd name="T41" fmla="*/ 88 h 250"/>
                  <a:gd name="T42" fmla="*/ 463 w 1284"/>
                  <a:gd name="T43" fmla="*/ 94 h 250"/>
                  <a:gd name="T44" fmla="*/ 455 w 1284"/>
                  <a:gd name="T45" fmla="*/ 88 h 250"/>
                  <a:gd name="T46" fmla="*/ 493 w 1284"/>
                  <a:gd name="T47" fmla="*/ 120 h 250"/>
                  <a:gd name="T48" fmla="*/ 501 w 1284"/>
                  <a:gd name="T49" fmla="*/ 112 h 250"/>
                  <a:gd name="T50" fmla="*/ 491 w 1284"/>
                  <a:gd name="T51" fmla="*/ 136 h 250"/>
                  <a:gd name="T52" fmla="*/ 500 w 1284"/>
                  <a:gd name="T53" fmla="*/ 144 h 250"/>
                  <a:gd name="T54" fmla="*/ 491 w 1284"/>
                  <a:gd name="T55" fmla="*/ 136 h 250"/>
                  <a:gd name="T56" fmla="*/ 892 w 1284"/>
                  <a:gd name="T57" fmla="*/ 0 h 250"/>
                  <a:gd name="T58" fmla="*/ 766 w 1284"/>
                  <a:gd name="T59" fmla="*/ 124 h 250"/>
                  <a:gd name="T60" fmla="*/ 892 w 1284"/>
                  <a:gd name="T61" fmla="*/ 249 h 250"/>
                  <a:gd name="T62" fmla="*/ 1019 w 1284"/>
                  <a:gd name="T63" fmla="*/ 124 h 250"/>
                  <a:gd name="T64" fmla="*/ 942 w 1284"/>
                  <a:gd name="T65" fmla="*/ 177 h 250"/>
                  <a:gd name="T66" fmla="*/ 842 w 1284"/>
                  <a:gd name="T67" fmla="*/ 177 h 250"/>
                  <a:gd name="T68" fmla="*/ 842 w 1284"/>
                  <a:gd name="T69" fmla="*/ 72 h 250"/>
                  <a:gd name="T70" fmla="*/ 942 w 1284"/>
                  <a:gd name="T71" fmla="*/ 72 h 250"/>
                  <a:gd name="T72" fmla="*/ 942 w 1284"/>
                  <a:gd name="T73" fmla="*/ 177 h 250"/>
                  <a:gd name="T74" fmla="*/ 1244 w 1284"/>
                  <a:gd name="T75" fmla="*/ 164 h 250"/>
                  <a:gd name="T76" fmla="*/ 1132 w 1284"/>
                  <a:gd name="T77" fmla="*/ 177 h 250"/>
                  <a:gd name="T78" fmla="*/ 1132 w 1284"/>
                  <a:gd name="T79" fmla="*/ 72 h 250"/>
                  <a:gd name="T80" fmla="*/ 1244 w 1284"/>
                  <a:gd name="T81" fmla="*/ 86 h 250"/>
                  <a:gd name="T82" fmla="*/ 1284 w 1284"/>
                  <a:gd name="T83" fmla="*/ 57 h 250"/>
                  <a:gd name="T84" fmla="*/ 1242 w 1284"/>
                  <a:gd name="T85" fmla="*/ 15 h 250"/>
                  <a:gd name="T86" fmla="*/ 1093 w 1284"/>
                  <a:gd name="T87" fmla="*/ 36 h 250"/>
                  <a:gd name="T88" fmla="*/ 1093 w 1284"/>
                  <a:gd name="T89" fmla="*/ 213 h 250"/>
                  <a:gd name="T90" fmla="*/ 1283 w 1284"/>
                  <a:gd name="T91" fmla="*/ 194 h 250"/>
                  <a:gd name="T92" fmla="*/ 1245 w 1284"/>
                  <a:gd name="T93" fmla="*/ 162 h 2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1284" h="250">
                    <a:moveTo>
                      <a:pt x="307" y="44"/>
                    </a:moveTo>
                    <a:cubicBezTo>
                      <a:pt x="287" y="25"/>
                      <a:pt x="263" y="17"/>
                      <a:pt x="236" y="17"/>
                    </a:cubicBezTo>
                    <a:cubicBezTo>
                      <a:pt x="210" y="17"/>
                      <a:pt x="187" y="25"/>
                      <a:pt x="167" y="44"/>
                    </a:cubicBezTo>
                    <a:cubicBezTo>
                      <a:pt x="148" y="25"/>
                      <a:pt x="125" y="17"/>
                      <a:pt x="98" y="17"/>
                    </a:cubicBezTo>
                    <a:cubicBezTo>
                      <a:pt x="71" y="17"/>
                      <a:pt x="48" y="25"/>
                      <a:pt x="28" y="44"/>
                    </a:cubicBezTo>
                    <a:cubicBezTo>
                      <a:pt x="8" y="63"/>
                      <a:pt x="0" y="88"/>
                      <a:pt x="0" y="116"/>
                    </a:cubicBezTo>
                    <a:cubicBezTo>
                      <a:pt x="0" y="244"/>
                      <a:pt x="0" y="244"/>
                      <a:pt x="0" y="244"/>
                    </a:cubicBezTo>
                    <a:cubicBezTo>
                      <a:pt x="56" y="244"/>
                      <a:pt x="56" y="244"/>
                      <a:pt x="56" y="244"/>
                    </a:cubicBezTo>
                    <a:cubicBezTo>
                      <a:pt x="56" y="112"/>
                      <a:pt x="56" y="112"/>
                      <a:pt x="56" y="112"/>
                    </a:cubicBezTo>
                    <a:cubicBezTo>
                      <a:pt x="56" y="100"/>
                      <a:pt x="59" y="89"/>
                      <a:pt x="68" y="81"/>
                    </a:cubicBezTo>
                    <a:cubicBezTo>
                      <a:pt x="76" y="73"/>
                      <a:pt x="87" y="69"/>
                      <a:pt x="98" y="69"/>
                    </a:cubicBezTo>
                    <a:cubicBezTo>
                      <a:pt x="110" y="69"/>
                      <a:pt x="120" y="73"/>
                      <a:pt x="128" y="81"/>
                    </a:cubicBezTo>
                    <a:cubicBezTo>
                      <a:pt x="135" y="88"/>
                      <a:pt x="139" y="97"/>
                      <a:pt x="140" y="107"/>
                    </a:cubicBezTo>
                    <a:cubicBezTo>
                      <a:pt x="140" y="110"/>
                      <a:pt x="139" y="113"/>
                      <a:pt x="139" y="116"/>
                    </a:cubicBezTo>
                    <a:cubicBezTo>
                      <a:pt x="139" y="244"/>
                      <a:pt x="139" y="244"/>
                      <a:pt x="139" y="244"/>
                    </a:cubicBezTo>
                    <a:cubicBezTo>
                      <a:pt x="196" y="244"/>
                      <a:pt x="196" y="244"/>
                      <a:pt x="196" y="244"/>
                    </a:cubicBezTo>
                    <a:cubicBezTo>
                      <a:pt x="196" y="116"/>
                      <a:pt x="196" y="116"/>
                      <a:pt x="196" y="116"/>
                    </a:cubicBezTo>
                    <a:cubicBezTo>
                      <a:pt x="196" y="113"/>
                      <a:pt x="195" y="110"/>
                      <a:pt x="195" y="107"/>
                    </a:cubicBezTo>
                    <a:cubicBezTo>
                      <a:pt x="195" y="97"/>
                      <a:pt x="200" y="88"/>
                      <a:pt x="207" y="81"/>
                    </a:cubicBezTo>
                    <a:cubicBezTo>
                      <a:pt x="215" y="73"/>
                      <a:pt x="225" y="69"/>
                      <a:pt x="236" y="69"/>
                    </a:cubicBezTo>
                    <a:cubicBezTo>
                      <a:pt x="248" y="69"/>
                      <a:pt x="259" y="73"/>
                      <a:pt x="267" y="81"/>
                    </a:cubicBezTo>
                    <a:cubicBezTo>
                      <a:pt x="276" y="89"/>
                      <a:pt x="279" y="100"/>
                      <a:pt x="279" y="112"/>
                    </a:cubicBezTo>
                    <a:cubicBezTo>
                      <a:pt x="279" y="244"/>
                      <a:pt x="279" y="244"/>
                      <a:pt x="279" y="244"/>
                    </a:cubicBezTo>
                    <a:cubicBezTo>
                      <a:pt x="335" y="244"/>
                      <a:pt x="335" y="244"/>
                      <a:pt x="335" y="244"/>
                    </a:cubicBezTo>
                    <a:cubicBezTo>
                      <a:pt x="335" y="117"/>
                      <a:pt x="335" y="117"/>
                      <a:pt x="335" y="117"/>
                    </a:cubicBezTo>
                    <a:cubicBezTo>
                      <a:pt x="335" y="90"/>
                      <a:pt x="327" y="63"/>
                      <a:pt x="307" y="44"/>
                    </a:cubicBezTo>
                    <a:close/>
                    <a:moveTo>
                      <a:pt x="477" y="120"/>
                    </a:moveTo>
                    <a:cubicBezTo>
                      <a:pt x="477" y="129"/>
                      <a:pt x="477" y="129"/>
                      <a:pt x="477" y="129"/>
                    </a:cubicBezTo>
                    <a:cubicBezTo>
                      <a:pt x="485" y="129"/>
                      <a:pt x="485" y="129"/>
                      <a:pt x="485" y="129"/>
                    </a:cubicBezTo>
                    <a:cubicBezTo>
                      <a:pt x="485" y="120"/>
                      <a:pt x="485" y="120"/>
                      <a:pt x="485" y="120"/>
                    </a:cubicBezTo>
                    <a:lnTo>
                      <a:pt x="477" y="120"/>
                    </a:lnTo>
                    <a:close/>
                    <a:moveTo>
                      <a:pt x="477" y="102"/>
                    </a:moveTo>
                    <a:cubicBezTo>
                      <a:pt x="477" y="111"/>
                      <a:pt x="477" y="111"/>
                      <a:pt x="477" y="111"/>
                    </a:cubicBezTo>
                    <a:cubicBezTo>
                      <a:pt x="486" y="111"/>
                      <a:pt x="486" y="111"/>
                      <a:pt x="486" y="111"/>
                    </a:cubicBezTo>
                    <a:cubicBezTo>
                      <a:pt x="486" y="102"/>
                      <a:pt x="486" y="102"/>
                      <a:pt x="486" y="102"/>
                    </a:cubicBezTo>
                    <a:lnTo>
                      <a:pt x="477" y="102"/>
                    </a:lnTo>
                    <a:close/>
                    <a:moveTo>
                      <a:pt x="506" y="95"/>
                    </a:moveTo>
                    <a:cubicBezTo>
                      <a:pt x="506" y="103"/>
                      <a:pt x="506" y="103"/>
                      <a:pt x="506" y="103"/>
                    </a:cubicBezTo>
                    <a:cubicBezTo>
                      <a:pt x="515" y="103"/>
                      <a:pt x="515" y="103"/>
                      <a:pt x="515" y="103"/>
                    </a:cubicBezTo>
                    <a:cubicBezTo>
                      <a:pt x="515" y="95"/>
                      <a:pt x="515" y="95"/>
                      <a:pt x="515" y="95"/>
                    </a:cubicBezTo>
                    <a:lnTo>
                      <a:pt x="506" y="95"/>
                    </a:lnTo>
                    <a:close/>
                    <a:moveTo>
                      <a:pt x="455" y="88"/>
                    </a:moveTo>
                    <a:cubicBezTo>
                      <a:pt x="455" y="94"/>
                      <a:pt x="455" y="94"/>
                      <a:pt x="455" y="94"/>
                    </a:cubicBezTo>
                    <a:cubicBezTo>
                      <a:pt x="463" y="94"/>
                      <a:pt x="463" y="94"/>
                      <a:pt x="463" y="94"/>
                    </a:cubicBezTo>
                    <a:cubicBezTo>
                      <a:pt x="463" y="88"/>
                      <a:pt x="463" y="88"/>
                      <a:pt x="463" y="88"/>
                    </a:cubicBezTo>
                    <a:lnTo>
                      <a:pt x="455" y="88"/>
                    </a:lnTo>
                    <a:close/>
                    <a:moveTo>
                      <a:pt x="493" y="112"/>
                    </a:moveTo>
                    <a:cubicBezTo>
                      <a:pt x="493" y="120"/>
                      <a:pt x="493" y="120"/>
                      <a:pt x="493" y="120"/>
                    </a:cubicBezTo>
                    <a:cubicBezTo>
                      <a:pt x="501" y="120"/>
                      <a:pt x="501" y="120"/>
                      <a:pt x="501" y="120"/>
                    </a:cubicBezTo>
                    <a:cubicBezTo>
                      <a:pt x="501" y="112"/>
                      <a:pt x="501" y="112"/>
                      <a:pt x="501" y="112"/>
                    </a:cubicBezTo>
                    <a:lnTo>
                      <a:pt x="493" y="112"/>
                    </a:lnTo>
                    <a:close/>
                    <a:moveTo>
                      <a:pt x="491" y="136"/>
                    </a:moveTo>
                    <a:cubicBezTo>
                      <a:pt x="491" y="144"/>
                      <a:pt x="491" y="144"/>
                      <a:pt x="491" y="144"/>
                    </a:cubicBezTo>
                    <a:cubicBezTo>
                      <a:pt x="500" y="144"/>
                      <a:pt x="500" y="144"/>
                      <a:pt x="500" y="144"/>
                    </a:cubicBezTo>
                    <a:cubicBezTo>
                      <a:pt x="500" y="136"/>
                      <a:pt x="500" y="136"/>
                      <a:pt x="500" y="136"/>
                    </a:cubicBezTo>
                    <a:lnTo>
                      <a:pt x="491" y="136"/>
                    </a:lnTo>
                    <a:close/>
                    <a:moveTo>
                      <a:pt x="982" y="36"/>
                    </a:moveTo>
                    <a:cubicBezTo>
                      <a:pt x="957" y="12"/>
                      <a:pt x="927" y="0"/>
                      <a:pt x="892" y="0"/>
                    </a:cubicBezTo>
                    <a:cubicBezTo>
                      <a:pt x="857" y="0"/>
                      <a:pt x="827" y="12"/>
                      <a:pt x="802" y="36"/>
                    </a:cubicBezTo>
                    <a:cubicBezTo>
                      <a:pt x="778" y="60"/>
                      <a:pt x="766" y="90"/>
                      <a:pt x="766" y="124"/>
                    </a:cubicBezTo>
                    <a:cubicBezTo>
                      <a:pt x="766" y="159"/>
                      <a:pt x="778" y="189"/>
                      <a:pt x="802" y="213"/>
                    </a:cubicBezTo>
                    <a:cubicBezTo>
                      <a:pt x="827" y="237"/>
                      <a:pt x="857" y="249"/>
                      <a:pt x="892" y="249"/>
                    </a:cubicBezTo>
                    <a:cubicBezTo>
                      <a:pt x="927" y="250"/>
                      <a:pt x="957" y="237"/>
                      <a:pt x="982" y="213"/>
                    </a:cubicBezTo>
                    <a:cubicBezTo>
                      <a:pt x="1006" y="189"/>
                      <a:pt x="1019" y="159"/>
                      <a:pt x="1019" y="124"/>
                    </a:cubicBezTo>
                    <a:cubicBezTo>
                      <a:pt x="1019" y="90"/>
                      <a:pt x="1006" y="60"/>
                      <a:pt x="982" y="36"/>
                    </a:cubicBezTo>
                    <a:close/>
                    <a:moveTo>
                      <a:pt x="942" y="177"/>
                    </a:moveTo>
                    <a:cubicBezTo>
                      <a:pt x="928" y="191"/>
                      <a:pt x="912" y="198"/>
                      <a:pt x="892" y="198"/>
                    </a:cubicBezTo>
                    <a:cubicBezTo>
                      <a:pt x="872" y="198"/>
                      <a:pt x="855" y="192"/>
                      <a:pt x="842" y="177"/>
                    </a:cubicBezTo>
                    <a:cubicBezTo>
                      <a:pt x="828" y="163"/>
                      <a:pt x="822" y="145"/>
                      <a:pt x="822" y="125"/>
                    </a:cubicBezTo>
                    <a:cubicBezTo>
                      <a:pt x="822" y="105"/>
                      <a:pt x="828" y="87"/>
                      <a:pt x="842" y="72"/>
                    </a:cubicBezTo>
                    <a:cubicBezTo>
                      <a:pt x="856" y="58"/>
                      <a:pt x="873" y="51"/>
                      <a:pt x="892" y="51"/>
                    </a:cubicBezTo>
                    <a:cubicBezTo>
                      <a:pt x="912" y="51"/>
                      <a:pt x="929" y="58"/>
                      <a:pt x="942" y="72"/>
                    </a:cubicBezTo>
                    <a:cubicBezTo>
                      <a:pt x="956" y="87"/>
                      <a:pt x="962" y="105"/>
                      <a:pt x="962" y="125"/>
                    </a:cubicBezTo>
                    <a:cubicBezTo>
                      <a:pt x="962" y="145"/>
                      <a:pt x="956" y="163"/>
                      <a:pt x="942" y="177"/>
                    </a:cubicBezTo>
                    <a:close/>
                    <a:moveTo>
                      <a:pt x="1245" y="162"/>
                    </a:moveTo>
                    <a:cubicBezTo>
                      <a:pt x="1244" y="164"/>
                      <a:pt x="1244" y="164"/>
                      <a:pt x="1244" y="164"/>
                    </a:cubicBezTo>
                    <a:cubicBezTo>
                      <a:pt x="1229" y="185"/>
                      <a:pt x="1209" y="198"/>
                      <a:pt x="1183" y="198"/>
                    </a:cubicBezTo>
                    <a:cubicBezTo>
                      <a:pt x="1163" y="198"/>
                      <a:pt x="1146" y="192"/>
                      <a:pt x="1132" y="177"/>
                    </a:cubicBezTo>
                    <a:cubicBezTo>
                      <a:pt x="1118" y="163"/>
                      <a:pt x="1112" y="145"/>
                      <a:pt x="1112" y="124"/>
                    </a:cubicBezTo>
                    <a:cubicBezTo>
                      <a:pt x="1112" y="105"/>
                      <a:pt x="1118" y="87"/>
                      <a:pt x="1132" y="72"/>
                    </a:cubicBezTo>
                    <a:cubicBezTo>
                      <a:pt x="1146" y="58"/>
                      <a:pt x="1163" y="51"/>
                      <a:pt x="1183" y="51"/>
                    </a:cubicBezTo>
                    <a:cubicBezTo>
                      <a:pt x="1209" y="51"/>
                      <a:pt x="1229" y="65"/>
                      <a:pt x="1244" y="86"/>
                    </a:cubicBezTo>
                    <a:cubicBezTo>
                      <a:pt x="1245" y="88"/>
                      <a:pt x="1245" y="88"/>
                      <a:pt x="1245" y="88"/>
                    </a:cubicBezTo>
                    <a:cubicBezTo>
                      <a:pt x="1284" y="57"/>
                      <a:pt x="1284" y="57"/>
                      <a:pt x="1284" y="57"/>
                    </a:cubicBezTo>
                    <a:cubicBezTo>
                      <a:pt x="1283" y="56"/>
                      <a:pt x="1283" y="56"/>
                      <a:pt x="1283" y="56"/>
                    </a:cubicBezTo>
                    <a:cubicBezTo>
                      <a:pt x="1273" y="38"/>
                      <a:pt x="1259" y="25"/>
                      <a:pt x="1242" y="15"/>
                    </a:cubicBezTo>
                    <a:cubicBezTo>
                      <a:pt x="1223" y="4"/>
                      <a:pt x="1203" y="0"/>
                      <a:pt x="1182" y="0"/>
                    </a:cubicBezTo>
                    <a:cubicBezTo>
                      <a:pt x="1148" y="0"/>
                      <a:pt x="1118" y="12"/>
                      <a:pt x="1093" y="36"/>
                    </a:cubicBezTo>
                    <a:cubicBezTo>
                      <a:pt x="1068" y="60"/>
                      <a:pt x="1056" y="90"/>
                      <a:pt x="1056" y="124"/>
                    </a:cubicBezTo>
                    <a:cubicBezTo>
                      <a:pt x="1056" y="159"/>
                      <a:pt x="1068" y="189"/>
                      <a:pt x="1093" y="213"/>
                    </a:cubicBezTo>
                    <a:cubicBezTo>
                      <a:pt x="1118" y="238"/>
                      <a:pt x="1148" y="249"/>
                      <a:pt x="1182" y="249"/>
                    </a:cubicBezTo>
                    <a:cubicBezTo>
                      <a:pt x="1226" y="249"/>
                      <a:pt x="1260" y="231"/>
                      <a:pt x="1283" y="194"/>
                    </a:cubicBezTo>
                    <a:cubicBezTo>
                      <a:pt x="1284" y="192"/>
                      <a:pt x="1284" y="192"/>
                      <a:pt x="1284" y="192"/>
                    </a:cubicBezTo>
                    <a:lnTo>
                      <a:pt x="1245" y="16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25" name="Freeform 6">
                <a:extLst>
                  <a:ext uri="{FF2B5EF4-FFF2-40B4-BE49-F238E27FC236}">
                    <a16:creationId xmlns:a16="http://schemas.microsoft.com/office/drawing/2014/main" id="{09AA459E-49FB-4DB7-9DA3-1A9908A7C32D}"/>
                  </a:ext>
                </a:extLst>
              </p:cNvPr>
              <p:cNvSpPr>
                <a:spLocks noEditPoints="1"/>
              </p:cNvSpPr>
              <p:nvPr userDrawn="1"/>
            </p:nvSpPr>
            <p:spPr bwMode="gray">
              <a:xfrm>
                <a:off x="6693" y="330"/>
                <a:ext cx="213" cy="249"/>
              </a:xfrm>
              <a:custGeom>
                <a:avLst/>
                <a:gdLst>
                  <a:gd name="T0" fmla="*/ 227 w 274"/>
                  <a:gd name="T1" fmla="*/ 44 h 319"/>
                  <a:gd name="T2" fmla="*/ 101 w 274"/>
                  <a:gd name="T3" fmla="*/ 0 h 319"/>
                  <a:gd name="T4" fmla="*/ 0 w 274"/>
                  <a:gd name="T5" fmla="*/ 0 h 319"/>
                  <a:gd name="T6" fmla="*/ 0 w 274"/>
                  <a:gd name="T7" fmla="*/ 138 h 319"/>
                  <a:gd name="T8" fmla="*/ 7 w 274"/>
                  <a:gd name="T9" fmla="*/ 138 h 319"/>
                  <a:gd name="T10" fmla="*/ 7 w 274"/>
                  <a:gd name="T11" fmla="*/ 146 h 319"/>
                  <a:gd name="T12" fmla="*/ 0 w 274"/>
                  <a:gd name="T13" fmla="*/ 146 h 319"/>
                  <a:gd name="T14" fmla="*/ 0 w 274"/>
                  <a:gd name="T15" fmla="*/ 154 h 319"/>
                  <a:gd name="T16" fmla="*/ 8 w 274"/>
                  <a:gd name="T17" fmla="*/ 154 h 319"/>
                  <a:gd name="T18" fmla="*/ 8 w 274"/>
                  <a:gd name="T19" fmla="*/ 162 h 319"/>
                  <a:gd name="T20" fmla="*/ 17 w 274"/>
                  <a:gd name="T21" fmla="*/ 162 h 319"/>
                  <a:gd name="T22" fmla="*/ 17 w 274"/>
                  <a:gd name="T23" fmla="*/ 169 h 319"/>
                  <a:gd name="T24" fmla="*/ 24 w 274"/>
                  <a:gd name="T25" fmla="*/ 169 h 319"/>
                  <a:gd name="T26" fmla="*/ 24 w 274"/>
                  <a:gd name="T27" fmla="*/ 163 h 319"/>
                  <a:gd name="T28" fmla="*/ 33 w 274"/>
                  <a:gd name="T29" fmla="*/ 163 h 319"/>
                  <a:gd name="T30" fmla="*/ 33 w 274"/>
                  <a:gd name="T31" fmla="*/ 177 h 319"/>
                  <a:gd name="T32" fmla="*/ 41 w 274"/>
                  <a:gd name="T33" fmla="*/ 177 h 319"/>
                  <a:gd name="T34" fmla="*/ 41 w 274"/>
                  <a:gd name="T35" fmla="*/ 169 h 319"/>
                  <a:gd name="T36" fmla="*/ 52 w 274"/>
                  <a:gd name="T37" fmla="*/ 169 h 319"/>
                  <a:gd name="T38" fmla="*/ 52 w 274"/>
                  <a:gd name="T39" fmla="*/ 162 h 319"/>
                  <a:gd name="T40" fmla="*/ 58 w 274"/>
                  <a:gd name="T41" fmla="*/ 162 h 319"/>
                  <a:gd name="T42" fmla="*/ 58 w 274"/>
                  <a:gd name="T43" fmla="*/ 126 h 319"/>
                  <a:gd name="T44" fmla="*/ 52 w 274"/>
                  <a:gd name="T45" fmla="*/ 126 h 319"/>
                  <a:gd name="T46" fmla="*/ 52 w 274"/>
                  <a:gd name="T47" fmla="*/ 118 h 319"/>
                  <a:gd name="T48" fmla="*/ 58 w 274"/>
                  <a:gd name="T49" fmla="*/ 118 h 319"/>
                  <a:gd name="T50" fmla="*/ 58 w 274"/>
                  <a:gd name="T51" fmla="*/ 108 h 319"/>
                  <a:gd name="T52" fmla="*/ 54 w 274"/>
                  <a:gd name="T53" fmla="*/ 108 h 319"/>
                  <a:gd name="T54" fmla="*/ 54 w 274"/>
                  <a:gd name="T55" fmla="*/ 98 h 319"/>
                  <a:gd name="T56" fmla="*/ 58 w 274"/>
                  <a:gd name="T57" fmla="*/ 98 h 319"/>
                  <a:gd name="T58" fmla="*/ 58 w 274"/>
                  <a:gd name="T59" fmla="*/ 51 h 319"/>
                  <a:gd name="T60" fmla="*/ 100 w 274"/>
                  <a:gd name="T61" fmla="*/ 51 h 319"/>
                  <a:gd name="T62" fmla="*/ 186 w 274"/>
                  <a:gd name="T63" fmla="*/ 80 h 319"/>
                  <a:gd name="T64" fmla="*/ 217 w 274"/>
                  <a:gd name="T65" fmla="*/ 159 h 319"/>
                  <a:gd name="T66" fmla="*/ 186 w 274"/>
                  <a:gd name="T67" fmla="*/ 238 h 319"/>
                  <a:gd name="T68" fmla="*/ 100 w 274"/>
                  <a:gd name="T69" fmla="*/ 269 h 319"/>
                  <a:gd name="T70" fmla="*/ 0 w 274"/>
                  <a:gd name="T71" fmla="*/ 270 h 319"/>
                  <a:gd name="T72" fmla="*/ 0 w 274"/>
                  <a:gd name="T73" fmla="*/ 319 h 319"/>
                  <a:gd name="T74" fmla="*/ 101 w 274"/>
                  <a:gd name="T75" fmla="*/ 319 h 319"/>
                  <a:gd name="T76" fmla="*/ 226 w 274"/>
                  <a:gd name="T77" fmla="*/ 274 h 319"/>
                  <a:gd name="T78" fmla="*/ 274 w 274"/>
                  <a:gd name="T79" fmla="*/ 159 h 319"/>
                  <a:gd name="T80" fmla="*/ 227 w 274"/>
                  <a:gd name="T81" fmla="*/ 44 h 319"/>
                  <a:gd name="T82" fmla="*/ 39 w 274"/>
                  <a:gd name="T83" fmla="*/ 140 h 319"/>
                  <a:gd name="T84" fmla="*/ 31 w 274"/>
                  <a:gd name="T85" fmla="*/ 140 h 319"/>
                  <a:gd name="T86" fmla="*/ 31 w 274"/>
                  <a:gd name="T87" fmla="*/ 148 h 319"/>
                  <a:gd name="T88" fmla="*/ 23 w 274"/>
                  <a:gd name="T89" fmla="*/ 148 h 319"/>
                  <a:gd name="T90" fmla="*/ 23 w 274"/>
                  <a:gd name="T91" fmla="*/ 140 h 319"/>
                  <a:gd name="T92" fmla="*/ 31 w 274"/>
                  <a:gd name="T93" fmla="*/ 140 h 319"/>
                  <a:gd name="T94" fmla="*/ 31 w 274"/>
                  <a:gd name="T95" fmla="*/ 132 h 319"/>
                  <a:gd name="T96" fmla="*/ 23 w 274"/>
                  <a:gd name="T97" fmla="*/ 132 h 319"/>
                  <a:gd name="T98" fmla="*/ 23 w 274"/>
                  <a:gd name="T99" fmla="*/ 124 h 319"/>
                  <a:gd name="T100" fmla="*/ 31 w 274"/>
                  <a:gd name="T101" fmla="*/ 124 h 319"/>
                  <a:gd name="T102" fmla="*/ 31 w 274"/>
                  <a:gd name="T103" fmla="*/ 132 h 319"/>
                  <a:gd name="T104" fmla="*/ 39 w 274"/>
                  <a:gd name="T105" fmla="*/ 132 h 319"/>
                  <a:gd name="T106" fmla="*/ 39 w 274"/>
                  <a:gd name="T107" fmla="*/ 140 h 3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274" h="319">
                    <a:moveTo>
                      <a:pt x="227" y="44"/>
                    </a:moveTo>
                    <a:cubicBezTo>
                      <a:pt x="192" y="11"/>
                      <a:pt x="147" y="0"/>
                      <a:pt x="101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46"/>
                      <a:pt x="0" y="91"/>
                      <a:pt x="0" y="138"/>
                    </a:cubicBezTo>
                    <a:cubicBezTo>
                      <a:pt x="7" y="138"/>
                      <a:pt x="7" y="138"/>
                      <a:pt x="7" y="138"/>
                    </a:cubicBezTo>
                    <a:cubicBezTo>
                      <a:pt x="7" y="146"/>
                      <a:pt x="7" y="146"/>
                      <a:pt x="7" y="146"/>
                    </a:cubicBezTo>
                    <a:cubicBezTo>
                      <a:pt x="0" y="146"/>
                      <a:pt x="0" y="146"/>
                      <a:pt x="0" y="146"/>
                    </a:cubicBezTo>
                    <a:cubicBezTo>
                      <a:pt x="0" y="154"/>
                      <a:pt x="0" y="154"/>
                      <a:pt x="0" y="154"/>
                    </a:cubicBezTo>
                    <a:cubicBezTo>
                      <a:pt x="8" y="154"/>
                      <a:pt x="8" y="154"/>
                      <a:pt x="8" y="154"/>
                    </a:cubicBezTo>
                    <a:cubicBezTo>
                      <a:pt x="8" y="162"/>
                      <a:pt x="8" y="162"/>
                      <a:pt x="8" y="162"/>
                    </a:cubicBezTo>
                    <a:cubicBezTo>
                      <a:pt x="17" y="162"/>
                      <a:pt x="17" y="162"/>
                      <a:pt x="17" y="162"/>
                    </a:cubicBezTo>
                    <a:cubicBezTo>
                      <a:pt x="17" y="169"/>
                      <a:pt x="17" y="169"/>
                      <a:pt x="17" y="169"/>
                    </a:cubicBezTo>
                    <a:cubicBezTo>
                      <a:pt x="24" y="169"/>
                      <a:pt x="24" y="169"/>
                      <a:pt x="24" y="169"/>
                    </a:cubicBezTo>
                    <a:cubicBezTo>
                      <a:pt x="24" y="163"/>
                      <a:pt x="24" y="163"/>
                      <a:pt x="24" y="163"/>
                    </a:cubicBezTo>
                    <a:cubicBezTo>
                      <a:pt x="33" y="163"/>
                      <a:pt x="33" y="163"/>
                      <a:pt x="33" y="163"/>
                    </a:cubicBezTo>
                    <a:cubicBezTo>
                      <a:pt x="33" y="177"/>
                      <a:pt x="33" y="177"/>
                      <a:pt x="33" y="177"/>
                    </a:cubicBezTo>
                    <a:cubicBezTo>
                      <a:pt x="41" y="177"/>
                      <a:pt x="41" y="177"/>
                      <a:pt x="41" y="177"/>
                    </a:cubicBezTo>
                    <a:cubicBezTo>
                      <a:pt x="41" y="169"/>
                      <a:pt x="41" y="169"/>
                      <a:pt x="41" y="169"/>
                    </a:cubicBezTo>
                    <a:cubicBezTo>
                      <a:pt x="52" y="169"/>
                      <a:pt x="52" y="169"/>
                      <a:pt x="52" y="169"/>
                    </a:cubicBezTo>
                    <a:cubicBezTo>
                      <a:pt x="52" y="162"/>
                      <a:pt x="52" y="162"/>
                      <a:pt x="52" y="162"/>
                    </a:cubicBezTo>
                    <a:cubicBezTo>
                      <a:pt x="58" y="162"/>
                      <a:pt x="58" y="162"/>
                      <a:pt x="58" y="162"/>
                    </a:cubicBezTo>
                    <a:cubicBezTo>
                      <a:pt x="58" y="126"/>
                      <a:pt x="58" y="126"/>
                      <a:pt x="58" y="126"/>
                    </a:cubicBezTo>
                    <a:cubicBezTo>
                      <a:pt x="52" y="126"/>
                      <a:pt x="52" y="126"/>
                      <a:pt x="52" y="126"/>
                    </a:cubicBezTo>
                    <a:cubicBezTo>
                      <a:pt x="52" y="118"/>
                      <a:pt x="52" y="118"/>
                      <a:pt x="52" y="118"/>
                    </a:cubicBezTo>
                    <a:cubicBezTo>
                      <a:pt x="58" y="118"/>
                      <a:pt x="58" y="118"/>
                      <a:pt x="58" y="118"/>
                    </a:cubicBezTo>
                    <a:cubicBezTo>
                      <a:pt x="58" y="108"/>
                      <a:pt x="58" y="108"/>
                      <a:pt x="58" y="108"/>
                    </a:cubicBezTo>
                    <a:cubicBezTo>
                      <a:pt x="54" y="108"/>
                      <a:pt x="54" y="108"/>
                      <a:pt x="54" y="108"/>
                    </a:cubicBezTo>
                    <a:cubicBezTo>
                      <a:pt x="54" y="98"/>
                      <a:pt x="54" y="98"/>
                      <a:pt x="54" y="98"/>
                    </a:cubicBezTo>
                    <a:cubicBezTo>
                      <a:pt x="58" y="98"/>
                      <a:pt x="58" y="98"/>
                      <a:pt x="58" y="98"/>
                    </a:cubicBezTo>
                    <a:cubicBezTo>
                      <a:pt x="58" y="51"/>
                      <a:pt x="58" y="51"/>
                      <a:pt x="58" y="51"/>
                    </a:cubicBezTo>
                    <a:cubicBezTo>
                      <a:pt x="72" y="51"/>
                      <a:pt x="86" y="51"/>
                      <a:pt x="100" y="51"/>
                    </a:cubicBezTo>
                    <a:cubicBezTo>
                      <a:pt x="132" y="51"/>
                      <a:pt x="162" y="58"/>
                      <a:pt x="186" y="80"/>
                    </a:cubicBezTo>
                    <a:cubicBezTo>
                      <a:pt x="208" y="101"/>
                      <a:pt x="217" y="129"/>
                      <a:pt x="217" y="159"/>
                    </a:cubicBezTo>
                    <a:cubicBezTo>
                      <a:pt x="217" y="190"/>
                      <a:pt x="208" y="217"/>
                      <a:pt x="186" y="238"/>
                    </a:cubicBezTo>
                    <a:cubicBezTo>
                      <a:pt x="162" y="261"/>
                      <a:pt x="132" y="269"/>
                      <a:pt x="100" y="269"/>
                    </a:cubicBezTo>
                    <a:cubicBezTo>
                      <a:pt x="67" y="269"/>
                      <a:pt x="34" y="269"/>
                      <a:pt x="0" y="270"/>
                    </a:cubicBezTo>
                    <a:cubicBezTo>
                      <a:pt x="0" y="319"/>
                      <a:pt x="0" y="319"/>
                      <a:pt x="0" y="319"/>
                    </a:cubicBezTo>
                    <a:cubicBezTo>
                      <a:pt x="101" y="319"/>
                      <a:pt x="101" y="319"/>
                      <a:pt x="101" y="319"/>
                    </a:cubicBezTo>
                    <a:cubicBezTo>
                      <a:pt x="148" y="319"/>
                      <a:pt x="192" y="307"/>
                      <a:pt x="226" y="274"/>
                    </a:cubicBezTo>
                    <a:cubicBezTo>
                      <a:pt x="259" y="243"/>
                      <a:pt x="274" y="204"/>
                      <a:pt x="274" y="159"/>
                    </a:cubicBezTo>
                    <a:cubicBezTo>
                      <a:pt x="274" y="114"/>
                      <a:pt x="260" y="75"/>
                      <a:pt x="227" y="44"/>
                    </a:cubicBezTo>
                    <a:close/>
                    <a:moveTo>
                      <a:pt x="39" y="140"/>
                    </a:moveTo>
                    <a:cubicBezTo>
                      <a:pt x="31" y="140"/>
                      <a:pt x="31" y="140"/>
                      <a:pt x="31" y="140"/>
                    </a:cubicBezTo>
                    <a:cubicBezTo>
                      <a:pt x="31" y="148"/>
                      <a:pt x="31" y="148"/>
                      <a:pt x="31" y="148"/>
                    </a:cubicBezTo>
                    <a:cubicBezTo>
                      <a:pt x="23" y="148"/>
                      <a:pt x="23" y="148"/>
                      <a:pt x="23" y="148"/>
                    </a:cubicBezTo>
                    <a:cubicBezTo>
                      <a:pt x="23" y="140"/>
                      <a:pt x="23" y="140"/>
                      <a:pt x="23" y="140"/>
                    </a:cubicBezTo>
                    <a:cubicBezTo>
                      <a:pt x="31" y="140"/>
                      <a:pt x="31" y="140"/>
                      <a:pt x="31" y="140"/>
                    </a:cubicBezTo>
                    <a:cubicBezTo>
                      <a:pt x="31" y="132"/>
                      <a:pt x="31" y="132"/>
                      <a:pt x="31" y="132"/>
                    </a:cubicBezTo>
                    <a:cubicBezTo>
                      <a:pt x="23" y="132"/>
                      <a:pt x="23" y="132"/>
                      <a:pt x="23" y="132"/>
                    </a:cubicBezTo>
                    <a:cubicBezTo>
                      <a:pt x="23" y="124"/>
                      <a:pt x="23" y="124"/>
                      <a:pt x="23" y="124"/>
                    </a:cubicBezTo>
                    <a:cubicBezTo>
                      <a:pt x="31" y="124"/>
                      <a:pt x="31" y="124"/>
                      <a:pt x="31" y="124"/>
                    </a:cubicBezTo>
                    <a:cubicBezTo>
                      <a:pt x="31" y="132"/>
                      <a:pt x="31" y="132"/>
                      <a:pt x="31" y="132"/>
                    </a:cubicBezTo>
                    <a:cubicBezTo>
                      <a:pt x="39" y="132"/>
                      <a:pt x="39" y="132"/>
                      <a:pt x="39" y="132"/>
                    </a:cubicBezTo>
                    <a:lnTo>
                      <a:pt x="39" y="14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26" name="Freeform 7">
                <a:extLst>
                  <a:ext uri="{FF2B5EF4-FFF2-40B4-BE49-F238E27FC236}">
                    <a16:creationId xmlns:a16="http://schemas.microsoft.com/office/drawing/2014/main" id="{C5A83D5D-8795-4779-A0A0-047052CDE78C}"/>
                  </a:ext>
                </a:extLst>
              </p:cNvPr>
              <p:cNvSpPr>
                <a:spLocks noEditPoints="1"/>
              </p:cNvSpPr>
              <p:nvPr userDrawn="1"/>
            </p:nvSpPr>
            <p:spPr bwMode="gray">
              <a:xfrm>
                <a:off x="6337" y="633"/>
                <a:ext cx="1001" cy="71"/>
              </a:xfrm>
              <a:custGeom>
                <a:avLst/>
                <a:gdLst>
                  <a:gd name="T0" fmla="*/ 1246 w 1289"/>
                  <a:gd name="T1" fmla="*/ 35 h 91"/>
                  <a:gd name="T2" fmla="*/ 1246 w 1289"/>
                  <a:gd name="T3" fmla="*/ 57 h 91"/>
                  <a:gd name="T4" fmla="*/ 1289 w 1289"/>
                  <a:gd name="T5" fmla="*/ 90 h 91"/>
                  <a:gd name="T6" fmla="*/ 1189 w 1289"/>
                  <a:gd name="T7" fmla="*/ 83 h 91"/>
                  <a:gd name="T8" fmla="*/ 1168 w 1289"/>
                  <a:gd name="T9" fmla="*/ 34 h 91"/>
                  <a:gd name="T10" fmla="*/ 1218 w 1289"/>
                  <a:gd name="T11" fmla="*/ 58 h 91"/>
                  <a:gd name="T12" fmla="*/ 1141 w 1289"/>
                  <a:gd name="T13" fmla="*/ 5 h 91"/>
                  <a:gd name="T14" fmla="*/ 1132 w 1289"/>
                  <a:gd name="T15" fmla="*/ 27 h 91"/>
                  <a:gd name="T16" fmla="*/ 1099 w 1289"/>
                  <a:gd name="T17" fmla="*/ 34 h 91"/>
                  <a:gd name="T18" fmla="*/ 1089 w 1289"/>
                  <a:gd name="T19" fmla="*/ 26 h 91"/>
                  <a:gd name="T20" fmla="*/ 1113 w 1289"/>
                  <a:gd name="T21" fmla="*/ 91 h 91"/>
                  <a:gd name="T22" fmla="*/ 1013 w 1289"/>
                  <a:gd name="T23" fmla="*/ 27 h 91"/>
                  <a:gd name="T24" fmla="*/ 1057 w 1289"/>
                  <a:gd name="T25" fmla="*/ 81 h 91"/>
                  <a:gd name="T26" fmla="*/ 1052 w 1289"/>
                  <a:gd name="T27" fmla="*/ 78 h 91"/>
                  <a:gd name="T28" fmla="*/ 992 w 1289"/>
                  <a:gd name="T29" fmla="*/ 0 h 91"/>
                  <a:gd name="T30" fmla="*/ 935 w 1289"/>
                  <a:gd name="T31" fmla="*/ 34 h 91"/>
                  <a:gd name="T32" fmla="*/ 916 w 1289"/>
                  <a:gd name="T33" fmla="*/ 58 h 91"/>
                  <a:gd name="T34" fmla="*/ 909 w 1289"/>
                  <a:gd name="T35" fmla="*/ 76 h 91"/>
                  <a:gd name="T36" fmla="*/ 874 w 1289"/>
                  <a:gd name="T37" fmla="*/ 90 h 91"/>
                  <a:gd name="T38" fmla="*/ 862 w 1289"/>
                  <a:gd name="T39" fmla="*/ 64 h 91"/>
                  <a:gd name="T40" fmla="*/ 792 w 1289"/>
                  <a:gd name="T41" fmla="*/ 81 h 91"/>
                  <a:gd name="T42" fmla="*/ 830 w 1289"/>
                  <a:gd name="T43" fmla="*/ 14 h 91"/>
                  <a:gd name="T44" fmla="*/ 727 w 1289"/>
                  <a:gd name="T45" fmla="*/ 90 h 91"/>
                  <a:gd name="T46" fmla="*/ 684 w 1289"/>
                  <a:gd name="T47" fmla="*/ 36 h 91"/>
                  <a:gd name="T48" fmla="*/ 684 w 1289"/>
                  <a:gd name="T49" fmla="*/ 57 h 91"/>
                  <a:gd name="T50" fmla="*/ 727 w 1289"/>
                  <a:gd name="T51" fmla="*/ 90 h 91"/>
                  <a:gd name="T52" fmla="*/ 641 w 1289"/>
                  <a:gd name="T53" fmla="*/ 27 h 91"/>
                  <a:gd name="T54" fmla="*/ 632 w 1289"/>
                  <a:gd name="T55" fmla="*/ 34 h 91"/>
                  <a:gd name="T56" fmla="*/ 656 w 1289"/>
                  <a:gd name="T57" fmla="*/ 83 h 91"/>
                  <a:gd name="T58" fmla="*/ 609 w 1289"/>
                  <a:gd name="T59" fmla="*/ 90 h 91"/>
                  <a:gd name="T60" fmla="*/ 568 w 1289"/>
                  <a:gd name="T61" fmla="*/ 59 h 91"/>
                  <a:gd name="T62" fmla="*/ 578 w 1289"/>
                  <a:gd name="T63" fmla="*/ 47 h 91"/>
                  <a:gd name="T64" fmla="*/ 555 w 1289"/>
                  <a:gd name="T65" fmla="*/ 34 h 91"/>
                  <a:gd name="T66" fmla="*/ 533 w 1289"/>
                  <a:gd name="T67" fmla="*/ 86 h 91"/>
                  <a:gd name="T68" fmla="*/ 578 w 1289"/>
                  <a:gd name="T69" fmla="*/ 90 h 91"/>
                  <a:gd name="T70" fmla="*/ 500 w 1289"/>
                  <a:gd name="T71" fmla="*/ 38 h 91"/>
                  <a:gd name="T72" fmla="*/ 471 w 1289"/>
                  <a:gd name="T73" fmla="*/ 60 h 91"/>
                  <a:gd name="T74" fmla="*/ 461 w 1289"/>
                  <a:gd name="T75" fmla="*/ 59 h 91"/>
                  <a:gd name="T76" fmla="*/ 431 w 1289"/>
                  <a:gd name="T77" fmla="*/ 42 h 91"/>
                  <a:gd name="T78" fmla="*/ 387 w 1289"/>
                  <a:gd name="T79" fmla="*/ 50 h 91"/>
                  <a:gd name="T80" fmla="*/ 310 w 1289"/>
                  <a:gd name="T81" fmla="*/ 71 h 91"/>
                  <a:gd name="T82" fmla="*/ 304 w 1289"/>
                  <a:gd name="T83" fmla="*/ 12 h 91"/>
                  <a:gd name="T84" fmla="*/ 318 w 1289"/>
                  <a:gd name="T85" fmla="*/ 91 h 91"/>
                  <a:gd name="T86" fmla="*/ 312 w 1289"/>
                  <a:gd name="T87" fmla="*/ 80 h 91"/>
                  <a:gd name="T88" fmla="*/ 249 w 1289"/>
                  <a:gd name="T89" fmla="*/ 90 h 91"/>
                  <a:gd name="T90" fmla="*/ 286 w 1289"/>
                  <a:gd name="T91" fmla="*/ 26 h 91"/>
                  <a:gd name="T92" fmla="*/ 209 w 1289"/>
                  <a:gd name="T93" fmla="*/ 59 h 91"/>
                  <a:gd name="T94" fmla="*/ 228 w 1289"/>
                  <a:gd name="T95" fmla="*/ 90 h 91"/>
                  <a:gd name="T96" fmla="*/ 187 w 1289"/>
                  <a:gd name="T97" fmla="*/ 38 h 91"/>
                  <a:gd name="T98" fmla="*/ 177 w 1289"/>
                  <a:gd name="T99" fmla="*/ 72 h 91"/>
                  <a:gd name="T100" fmla="*/ 221 w 1289"/>
                  <a:gd name="T101" fmla="*/ 90 h 91"/>
                  <a:gd name="T102" fmla="*/ 127 w 1289"/>
                  <a:gd name="T103" fmla="*/ 29 h 91"/>
                  <a:gd name="T104" fmla="*/ 80 w 1289"/>
                  <a:gd name="T105" fmla="*/ 35 h 91"/>
                  <a:gd name="T106" fmla="*/ 84 w 1289"/>
                  <a:gd name="T107" fmla="*/ 39 h 91"/>
                  <a:gd name="T108" fmla="*/ 120 w 1289"/>
                  <a:gd name="T109" fmla="*/ 55 h 91"/>
                  <a:gd name="T110" fmla="*/ 161 w 1289"/>
                  <a:gd name="T111" fmla="*/ 90 h 91"/>
                  <a:gd name="T112" fmla="*/ 15 w 1289"/>
                  <a:gd name="T113" fmla="*/ 17 h 91"/>
                  <a:gd name="T114" fmla="*/ 1 w 1289"/>
                  <a:gd name="T115" fmla="*/ 26 h 91"/>
                  <a:gd name="T116" fmla="*/ 38 w 1289"/>
                  <a:gd name="T117" fmla="*/ 79 h 91"/>
                  <a:gd name="T118" fmla="*/ 45 w 1289"/>
                  <a:gd name="T119" fmla="*/ 85 h 9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1289" h="91">
                    <a:moveTo>
                      <a:pt x="1289" y="90"/>
                    </a:moveTo>
                    <a:cubicBezTo>
                      <a:pt x="1289" y="49"/>
                      <a:pt x="1289" y="49"/>
                      <a:pt x="1289" y="49"/>
                    </a:cubicBezTo>
                    <a:cubicBezTo>
                      <a:pt x="1289" y="41"/>
                      <a:pt x="1287" y="35"/>
                      <a:pt x="1283" y="31"/>
                    </a:cubicBezTo>
                    <a:cubicBezTo>
                      <a:pt x="1280" y="27"/>
                      <a:pt x="1274" y="26"/>
                      <a:pt x="1266" y="26"/>
                    </a:cubicBezTo>
                    <a:cubicBezTo>
                      <a:pt x="1262" y="26"/>
                      <a:pt x="1258" y="27"/>
                      <a:pt x="1254" y="28"/>
                    </a:cubicBezTo>
                    <a:cubicBezTo>
                      <a:pt x="1251" y="30"/>
                      <a:pt x="1248" y="32"/>
                      <a:pt x="1246" y="35"/>
                    </a:cubicBezTo>
                    <a:cubicBezTo>
                      <a:pt x="1246" y="35"/>
                      <a:pt x="1246" y="35"/>
                      <a:pt x="1246" y="35"/>
                    </a:cubicBezTo>
                    <a:cubicBezTo>
                      <a:pt x="1244" y="27"/>
                      <a:pt x="1244" y="27"/>
                      <a:pt x="1244" y="27"/>
                    </a:cubicBezTo>
                    <a:cubicBezTo>
                      <a:pt x="1236" y="27"/>
                      <a:pt x="1236" y="27"/>
                      <a:pt x="1236" y="27"/>
                    </a:cubicBezTo>
                    <a:cubicBezTo>
                      <a:pt x="1236" y="90"/>
                      <a:pt x="1236" y="90"/>
                      <a:pt x="1236" y="90"/>
                    </a:cubicBezTo>
                    <a:cubicBezTo>
                      <a:pt x="1246" y="90"/>
                      <a:pt x="1246" y="90"/>
                      <a:pt x="1246" y="90"/>
                    </a:cubicBezTo>
                    <a:cubicBezTo>
                      <a:pt x="1246" y="57"/>
                      <a:pt x="1246" y="57"/>
                      <a:pt x="1246" y="57"/>
                    </a:cubicBezTo>
                    <a:cubicBezTo>
                      <a:pt x="1246" y="49"/>
                      <a:pt x="1247" y="43"/>
                      <a:pt x="1251" y="39"/>
                    </a:cubicBezTo>
                    <a:cubicBezTo>
                      <a:pt x="1254" y="36"/>
                      <a:pt x="1258" y="34"/>
                      <a:pt x="1265" y="34"/>
                    </a:cubicBezTo>
                    <a:cubicBezTo>
                      <a:pt x="1270" y="34"/>
                      <a:pt x="1274" y="35"/>
                      <a:pt x="1276" y="38"/>
                    </a:cubicBezTo>
                    <a:cubicBezTo>
                      <a:pt x="1278" y="40"/>
                      <a:pt x="1280" y="44"/>
                      <a:pt x="1280" y="49"/>
                    </a:cubicBezTo>
                    <a:cubicBezTo>
                      <a:pt x="1280" y="90"/>
                      <a:pt x="1280" y="90"/>
                      <a:pt x="1280" y="90"/>
                    </a:cubicBezTo>
                    <a:lnTo>
                      <a:pt x="1289" y="90"/>
                    </a:lnTo>
                    <a:close/>
                    <a:moveTo>
                      <a:pt x="1174" y="40"/>
                    </a:moveTo>
                    <a:cubicBezTo>
                      <a:pt x="1178" y="36"/>
                      <a:pt x="1182" y="34"/>
                      <a:pt x="1189" y="34"/>
                    </a:cubicBezTo>
                    <a:cubicBezTo>
                      <a:pt x="1195" y="34"/>
                      <a:pt x="1200" y="36"/>
                      <a:pt x="1203" y="40"/>
                    </a:cubicBezTo>
                    <a:cubicBezTo>
                      <a:pt x="1206" y="44"/>
                      <a:pt x="1208" y="50"/>
                      <a:pt x="1208" y="58"/>
                    </a:cubicBezTo>
                    <a:cubicBezTo>
                      <a:pt x="1208" y="66"/>
                      <a:pt x="1206" y="73"/>
                      <a:pt x="1203" y="77"/>
                    </a:cubicBezTo>
                    <a:cubicBezTo>
                      <a:pt x="1200" y="81"/>
                      <a:pt x="1195" y="83"/>
                      <a:pt x="1189" y="83"/>
                    </a:cubicBezTo>
                    <a:cubicBezTo>
                      <a:pt x="1183" y="83"/>
                      <a:pt x="1178" y="81"/>
                      <a:pt x="1175" y="77"/>
                    </a:cubicBezTo>
                    <a:cubicBezTo>
                      <a:pt x="1171" y="73"/>
                      <a:pt x="1170" y="66"/>
                      <a:pt x="1170" y="58"/>
                    </a:cubicBezTo>
                    <a:cubicBezTo>
                      <a:pt x="1170" y="50"/>
                      <a:pt x="1171" y="44"/>
                      <a:pt x="1174" y="40"/>
                    </a:cubicBezTo>
                    <a:close/>
                    <a:moveTo>
                      <a:pt x="1210" y="34"/>
                    </a:moveTo>
                    <a:cubicBezTo>
                      <a:pt x="1205" y="29"/>
                      <a:pt x="1198" y="26"/>
                      <a:pt x="1189" y="26"/>
                    </a:cubicBezTo>
                    <a:cubicBezTo>
                      <a:pt x="1180" y="26"/>
                      <a:pt x="1173" y="29"/>
                      <a:pt x="1168" y="34"/>
                    </a:cubicBezTo>
                    <a:cubicBezTo>
                      <a:pt x="1162" y="40"/>
                      <a:pt x="1160" y="48"/>
                      <a:pt x="1160" y="58"/>
                    </a:cubicBezTo>
                    <a:cubicBezTo>
                      <a:pt x="1160" y="65"/>
                      <a:pt x="1161" y="71"/>
                      <a:pt x="1163" y="76"/>
                    </a:cubicBezTo>
                    <a:cubicBezTo>
                      <a:pt x="1166" y="81"/>
                      <a:pt x="1169" y="84"/>
                      <a:pt x="1174" y="87"/>
                    </a:cubicBezTo>
                    <a:cubicBezTo>
                      <a:pt x="1178" y="90"/>
                      <a:pt x="1183" y="91"/>
                      <a:pt x="1189" y="91"/>
                    </a:cubicBezTo>
                    <a:cubicBezTo>
                      <a:pt x="1198" y="91"/>
                      <a:pt x="1205" y="88"/>
                      <a:pt x="1210" y="82"/>
                    </a:cubicBezTo>
                    <a:cubicBezTo>
                      <a:pt x="1215" y="77"/>
                      <a:pt x="1218" y="69"/>
                      <a:pt x="1218" y="58"/>
                    </a:cubicBezTo>
                    <a:cubicBezTo>
                      <a:pt x="1218" y="48"/>
                      <a:pt x="1215" y="40"/>
                      <a:pt x="1210" y="34"/>
                    </a:cubicBezTo>
                    <a:close/>
                    <a:moveTo>
                      <a:pt x="1133" y="14"/>
                    </a:moveTo>
                    <a:cubicBezTo>
                      <a:pt x="1134" y="16"/>
                      <a:pt x="1135" y="16"/>
                      <a:pt x="1137" y="16"/>
                    </a:cubicBezTo>
                    <a:cubicBezTo>
                      <a:pt x="1138" y="16"/>
                      <a:pt x="1139" y="16"/>
                      <a:pt x="1141" y="14"/>
                    </a:cubicBezTo>
                    <a:cubicBezTo>
                      <a:pt x="1142" y="13"/>
                      <a:pt x="1142" y="12"/>
                      <a:pt x="1142" y="10"/>
                    </a:cubicBezTo>
                    <a:cubicBezTo>
                      <a:pt x="1142" y="8"/>
                      <a:pt x="1142" y="6"/>
                      <a:pt x="1141" y="5"/>
                    </a:cubicBezTo>
                    <a:cubicBezTo>
                      <a:pt x="1139" y="4"/>
                      <a:pt x="1138" y="3"/>
                      <a:pt x="1137" y="3"/>
                    </a:cubicBezTo>
                    <a:cubicBezTo>
                      <a:pt x="1135" y="3"/>
                      <a:pt x="1134" y="4"/>
                      <a:pt x="1133" y="5"/>
                    </a:cubicBezTo>
                    <a:cubicBezTo>
                      <a:pt x="1131" y="6"/>
                      <a:pt x="1131" y="7"/>
                      <a:pt x="1131" y="10"/>
                    </a:cubicBezTo>
                    <a:cubicBezTo>
                      <a:pt x="1131" y="12"/>
                      <a:pt x="1131" y="13"/>
                      <a:pt x="1133" y="14"/>
                    </a:cubicBezTo>
                    <a:close/>
                    <a:moveTo>
                      <a:pt x="1141" y="27"/>
                    </a:moveTo>
                    <a:cubicBezTo>
                      <a:pt x="1132" y="27"/>
                      <a:pt x="1132" y="27"/>
                      <a:pt x="1132" y="27"/>
                    </a:cubicBezTo>
                    <a:cubicBezTo>
                      <a:pt x="1132" y="90"/>
                      <a:pt x="1132" y="90"/>
                      <a:pt x="1132" y="90"/>
                    </a:cubicBezTo>
                    <a:cubicBezTo>
                      <a:pt x="1141" y="90"/>
                      <a:pt x="1141" y="90"/>
                      <a:pt x="1141" y="90"/>
                    </a:cubicBezTo>
                    <a:lnTo>
                      <a:pt x="1141" y="27"/>
                    </a:lnTo>
                    <a:close/>
                    <a:moveTo>
                      <a:pt x="1101" y="80"/>
                    </a:moveTo>
                    <a:cubicBezTo>
                      <a:pt x="1099" y="78"/>
                      <a:pt x="1099" y="75"/>
                      <a:pt x="1099" y="71"/>
                    </a:cubicBezTo>
                    <a:cubicBezTo>
                      <a:pt x="1099" y="34"/>
                      <a:pt x="1099" y="34"/>
                      <a:pt x="1099" y="34"/>
                    </a:cubicBezTo>
                    <a:cubicBezTo>
                      <a:pt x="1117" y="34"/>
                      <a:pt x="1117" y="34"/>
                      <a:pt x="1117" y="34"/>
                    </a:cubicBezTo>
                    <a:cubicBezTo>
                      <a:pt x="1117" y="27"/>
                      <a:pt x="1117" y="27"/>
                      <a:pt x="1117" y="27"/>
                    </a:cubicBezTo>
                    <a:cubicBezTo>
                      <a:pt x="1099" y="27"/>
                      <a:pt x="1099" y="27"/>
                      <a:pt x="1099" y="27"/>
                    </a:cubicBezTo>
                    <a:cubicBezTo>
                      <a:pt x="1099" y="12"/>
                      <a:pt x="1099" y="12"/>
                      <a:pt x="1099" y="12"/>
                    </a:cubicBezTo>
                    <a:cubicBezTo>
                      <a:pt x="1093" y="12"/>
                      <a:pt x="1093" y="12"/>
                      <a:pt x="1093" y="12"/>
                    </a:cubicBezTo>
                    <a:cubicBezTo>
                      <a:pt x="1089" y="26"/>
                      <a:pt x="1089" y="26"/>
                      <a:pt x="1089" y="26"/>
                    </a:cubicBezTo>
                    <a:cubicBezTo>
                      <a:pt x="1080" y="30"/>
                      <a:pt x="1080" y="30"/>
                      <a:pt x="1080" y="30"/>
                    </a:cubicBezTo>
                    <a:cubicBezTo>
                      <a:pt x="1080" y="34"/>
                      <a:pt x="1080" y="34"/>
                      <a:pt x="1080" y="34"/>
                    </a:cubicBezTo>
                    <a:cubicBezTo>
                      <a:pt x="1089" y="34"/>
                      <a:pt x="1089" y="34"/>
                      <a:pt x="1089" y="34"/>
                    </a:cubicBezTo>
                    <a:cubicBezTo>
                      <a:pt x="1089" y="72"/>
                      <a:pt x="1089" y="72"/>
                      <a:pt x="1089" y="72"/>
                    </a:cubicBezTo>
                    <a:cubicBezTo>
                      <a:pt x="1089" y="85"/>
                      <a:pt x="1095" y="91"/>
                      <a:pt x="1107" y="91"/>
                    </a:cubicBezTo>
                    <a:cubicBezTo>
                      <a:pt x="1109" y="91"/>
                      <a:pt x="1111" y="91"/>
                      <a:pt x="1113" y="91"/>
                    </a:cubicBezTo>
                    <a:cubicBezTo>
                      <a:pt x="1115" y="90"/>
                      <a:pt x="1116" y="90"/>
                      <a:pt x="1117" y="89"/>
                    </a:cubicBezTo>
                    <a:cubicBezTo>
                      <a:pt x="1117" y="82"/>
                      <a:pt x="1117" y="82"/>
                      <a:pt x="1117" y="82"/>
                    </a:cubicBezTo>
                    <a:cubicBezTo>
                      <a:pt x="1116" y="82"/>
                      <a:pt x="1115" y="83"/>
                      <a:pt x="1114" y="83"/>
                    </a:cubicBezTo>
                    <a:cubicBezTo>
                      <a:pt x="1112" y="83"/>
                      <a:pt x="1110" y="83"/>
                      <a:pt x="1109" y="83"/>
                    </a:cubicBezTo>
                    <a:cubicBezTo>
                      <a:pt x="1106" y="83"/>
                      <a:pt x="1103" y="82"/>
                      <a:pt x="1101" y="80"/>
                    </a:cubicBezTo>
                    <a:close/>
                    <a:moveTo>
                      <a:pt x="1013" y="27"/>
                    </a:moveTo>
                    <a:cubicBezTo>
                      <a:pt x="1013" y="68"/>
                      <a:pt x="1013" y="68"/>
                      <a:pt x="1013" y="68"/>
                    </a:cubicBezTo>
                    <a:cubicBezTo>
                      <a:pt x="1013" y="76"/>
                      <a:pt x="1015" y="82"/>
                      <a:pt x="1019" y="86"/>
                    </a:cubicBezTo>
                    <a:cubicBezTo>
                      <a:pt x="1023" y="89"/>
                      <a:pt x="1029" y="91"/>
                      <a:pt x="1036" y="91"/>
                    </a:cubicBezTo>
                    <a:cubicBezTo>
                      <a:pt x="1041" y="91"/>
                      <a:pt x="1045" y="90"/>
                      <a:pt x="1048" y="89"/>
                    </a:cubicBezTo>
                    <a:cubicBezTo>
                      <a:pt x="1052" y="87"/>
                      <a:pt x="1054" y="85"/>
                      <a:pt x="1056" y="81"/>
                    </a:cubicBezTo>
                    <a:cubicBezTo>
                      <a:pt x="1057" y="81"/>
                      <a:pt x="1057" y="81"/>
                      <a:pt x="1057" y="81"/>
                    </a:cubicBezTo>
                    <a:cubicBezTo>
                      <a:pt x="1058" y="90"/>
                      <a:pt x="1058" y="90"/>
                      <a:pt x="1058" y="90"/>
                    </a:cubicBezTo>
                    <a:cubicBezTo>
                      <a:pt x="1066" y="90"/>
                      <a:pt x="1066" y="90"/>
                      <a:pt x="1066" y="90"/>
                    </a:cubicBezTo>
                    <a:cubicBezTo>
                      <a:pt x="1066" y="27"/>
                      <a:pt x="1066" y="27"/>
                      <a:pt x="1066" y="27"/>
                    </a:cubicBezTo>
                    <a:cubicBezTo>
                      <a:pt x="1057" y="27"/>
                      <a:pt x="1057" y="27"/>
                      <a:pt x="1057" y="27"/>
                    </a:cubicBezTo>
                    <a:cubicBezTo>
                      <a:pt x="1057" y="60"/>
                      <a:pt x="1057" y="60"/>
                      <a:pt x="1057" y="60"/>
                    </a:cubicBezTo>
                    <a:cubicBezTo>
                      <a:pt x="1057" y="68"/>
                      <a:pt x="1055" y="74"/>
                      <a:pt x="1052" y="78"/>
                    </a:cubicBezTo>
                    <a:cubicBezTo>
                      <a:pt x="1049" y="81"/>
                      <a:pt x="1044" y="83"/>
                      <a:pt x="1038" y="83"/>
                    </a:cubicBezTo>
                    <a:cubicBezTo>
                      <a:pt x="1033" y="83"/>
                      <a:pt x="1029" y="82"/>
                      <a:pt x="1027" y="79"/>
                    </a:cubicBezTo>
                    <a:cubicBezTo>
                      <a:pt x="1024" y="77"/>
                      <a:pt x="1023" y="73"/>
                      <a:pt x="1023" y="68"/>
                    </a:cubicBezTo>
                    <a:cubicBezTo>
                      <a:pt x="1023" y="27"/>
                      <a:pt x="1023" y="27"/>
                      <a:pt x="1023" y="27"/>
                    </a:cubicBezTo>
                    <a:lnTo>
                      <a:pt x="1013" y="27"/>
                    </a:lnTo>
                    <a:close/>
                    <a:moveTo>
                      <a:pt x="992" y="0"/>
                    </a:moveTo>
                    <a:cubicBezTo>
                      <a:pt x="982" y="0"/>
                      <a:pt x="982" y="0"/>
                      <a:pt x="982" y="0"/>
                    </a:cubicBezTo>
                    <a:cubicBezTo>
                      <a:pt x="982" y="90"/>
                      <a:pt x="982" y="90"/>
                      <a:pt x="982" y="90"/>
                    </a:cubicBezTo>
                    <a:cubicBezTo>
                      <a:pt x="992" y="90"/>
                      <a:pt x="992" y="90"/>
                      <a:pt x="992" y="90"/>
                    </a:cubicBezTo>
                    <a:lnTo>
                      <a:pt x="992" y="0"/>
                    </a:lnTo>
                    <a:close/>
                    <a:moveTo>
                      <a:pt x="921" y="40"/>
                    </a:moveTo>
                    <a:cubicBezTo>
                      <a:pt x="924" y="36"/>
                      <a:pt x="929" y="34"/>
                      <a:pt x="935" y="34"/>
                    </a:cubicBezTo>
                    <a:cubicBezTo>
                      <a:pt x="941" y="34"/>
                      <a:pt x="946" y="36"/>
                      <a:pt x="949" y="40"/>
                    </a:cubicBezTo>
                    <a:cubicBezTo>
                      <a:pt x="952" y="44"/>
                      <a:pt x="954" y="50"/>
                      <a:pt x="954" y="58"/>
                    </a:cubicBezTo>
                    <a:cubicBezTo>
                      <a:pt x="954" y="66"/>
                      <a:pt x="952" y="73"/>
                      <a:pt x="949" y="77"/>
                    </a:cubicBezTo>
                    <a:cubicBezTo>
                      <a:pt x="946" y="81"/>
                      <a:pt x="941" y="83"/>
                      <a:pt x="935" y="83"/>
                    </a:cubicBezTo>
                    <a:cubicBezTo>
                      <a:pt x="929" y="83"/>
                      <a:pt x="924" y="81"/>
                      <a:pt x="921" y="77"/>
                    </a:cubicBezTo>
                    <a:cubicBezTo>
                      <a:pt x="917" y="73"/>
                      <a:pt x="916" y="66"/>
                      <a:pt x="916" y="58"/>
                    </a:cubicBezTo>
                    <a:cubicBezTo>
                      <a:pt x="916" y="50"/>
                      <a:pt x="917" y="44"/>
                      <a:pt x="921" y="40"/>
                    </a:cubicBezTo>
                    <a:close/>
                    <a:moveTo>
                      <a:pt x="956" y="34"/>
                    </a:moveTo>
                    <a:cubicBezTo>
                      <a:pt x="951" y="29"/>
                      <a:pt x="944" y="26"/>
                      <a:pt x="935" y="26"/>
                    </a:cubicBezTo>
                    <a:cubicBezTo>
                      <a:pt x="926" y="26"/>
                      <a:pt x="919" y="29"/>
                      <a:pt x="914" y="34"/>
                    </a:cubicBezTo>
                    <a:cubicBezTo>
                      <a:pt x="908" y="40"/>
                      <a:pt x="906" y="48"/>
                      <a:pt x="906" y="58"/>
                    </a:cubicBezTo>
                    <a:cubicBezTo>
                      <a:pt x="906" y="65"/>
                      <a:pt x="907" y="71"/>
                      <a:pt x="909" y="76"/>
                    </a:cubicBezTo>
                    <a:cubicBezTo>
                      <a:pt x="912" y="81"/>
                      <a:pt x="915" y="84"/>
                      <a:pt x="920" y="87"/>
                    </a:cubicBezTo>
                    <a:cubicBezTo>
                      <a:pt x="924" y="90"/>
                      <a:pt x="929" y="91"/>
                      <a:pt x="935" y="91"/>
                    </a:cubicBezTo>
                    <a:cubicBezTo>
                      <a:pt x="944" y="91"/>
                      <a:pt x="951" y="88"/>
                      <a:pt x="956" y="82"/>
                    </a:cubicBezTo>
                    <a:cubicBezTo>
                      <a:pt x="961" y="77"/>
                      <a:pt x="964" y="69"/>
                      <a:pt x="964" y="58"/>
                    </a:cubicBezTo>
                    <a:cubicBezTo>
                      <a:pt x="964" y="48"/>
                      <a:pt x="961" y="40"/>
                      <a:pt x="956" y="34"/>
                    </a:cubicBezTo>
                    <a:close/>
                    <a:moveTo>
                      <a:pt x="874" y="90"/>
                    </a:moveTo>
                    <a:cubicBezTo>
                      <a:pt x="898" y="27"/>
                      <a:pt x="898" y="27"/>
                      <a:pt x="898" y="27"/>
                    </a:cubicBezTo>
                    <a:cubicBezTo>
                      <a:pt x="887" y="27"/>
                      <a:pt x="887" y="27"/>
                      <a:pt x="887" y="27"/>
                    </a:cubicBezTo>
                    <a:cubicBezTo>
                      <a:pt x="879" y="48"/>
                      <a:pt x="874" y="62"/>
                      <a:pt x="872" y="69"/>
                    </a:cubicBezTo>
                    <a:cubicBezTo>
                      <a:pt x="870" y="75"/>
                      <a:pt x="869" y="79"/>
                      <a:pt x="868" y="81"/>
                    </a:cubicBezTo>
                    <a:cubicBezTo>
                      <a:pt x="868" y="81"/>
                      <a:pt x="868" y="81"/>
                      <a:pt x="868" y="81"/>
                    </a:cubicBezTo>
                    <a:cubicBezTo>
                      <a:pt x="867" y="79"/>
                      <a:pt x="865" y="73"/>
                      <a:pt x="862" y="64"/>
                    </a:cubicBezTo>
                    <a:cubicBezTo>
                      <a:pt x="849" y="27"/>
                      <a:pt x="849" y="27"/>
                      <a:pt x="849" y="27"/>
                    </a:cubicBezTo>
                    <a:cubicBezTo>
                      <a:pt x="838" y="27"/>
                      <a:pt x="838" y="27"/>
                      <a:pt x="838" y="27"/>
                    </a:cubicBezTo>
                    <a:cubicBezTo>
                      <a:pt x="862" y="90"/>
                      <a:pt x="862" y="90"/>
                      <a:pt x="862" y="90"/>
                    </a:cubicBezTo>
                    <a:lnTo>
                      <a:pt x="874" y="90"/>
                    </a:lnTo>
                    <a:close/>
                    <a:moveTo>
                      <a:pt x="830" y="81"/>
                    </a:moveTo>
                    <a:cubicBezTo>
                      <a:pt x="792" y="81"/>
                      <a:pt x="792" y="81"/>
                      <a:pt x="792" y="81"/>
                    </a:cubicBezTo>
                    <a:cubicBezTo>
                      <a:pt x="792" y="50"/>
                      <a:pt x="792" y="50"/>
                      <a:pt x="792" y="50"/>
                    </a:cubicBezTo>
                    <a:cubicBezTo>
                      <a:pt x="827" y="50"/>
                      <a:pt x="827" y="50"/>
                      <a:pt x="827" y="50"/>
                    </a:cubicBezTo>
                    <a:cubicBezTo>
                      <a:pt x="827" y="42"/>
                      <a:pt x="827" y="42"/>
                      <a:pt x="827" y="42"/>
                    </a:cubicBezTo>
                    <a:cubicBezTo>
                      <a:pt x="792" y="42"/>
                      <a:pt x="792" y="42"/>
                      <a:pt x="792" y="42"/>
                    </a:cubicBezTo>
                    <a:cubicBezTo>
                      <a:pt x="792" y="14"/>
                      <a:pt x="792" y="14"/>
                      <a:pt x="792" y="14"/>
                    </a:cubicBezTo>
                    <a:cubicBezTo>
                      <a:pt x="830" y="14"/>
                      <a:pt x="830" y="14"/>
                      <a:pt x="830" y="14"/>
                    </a:cubicBezTo>
                    <a:cubicBezTo>
                      <a:pt x="830" y="6"/>
                      <a:pt x="830" y="6"/>
                      <a:pt x="830" y="6"/>
                    </a:cubicBezTo>
                    <a:cubicBezTo>
                      <a:pt x="783" y="6"/>
                      <a:pt x="783" y="6"/>
                      <a:pt x="783" y="6"/>
                    </a:cubicBezTo>
                    <a:cubicBezTo>
                      <a:pt x="783" y="90"/>
                      <a:pt x="783" y="90"/>
                      <a:pt x="783" y="90"/>
                    </a:cubicBezTo>
                    <a:cubicBezTo>
                      <a:pt x="830" y="90"/>
                      <a:pt x="830" y="90"/>
                      <a:pt x="830" y="90"/>
                    </a:cubicBezTo>
                    <a:lnTo>
                      <a:pt x="830" y="81"/>
                    </a:lnTo>
                    <a:close/>
                    <a:moveTo>
                      <a:pt x="727" y="90"/>
                    </a:moveTo>
                    <a:cubicBezTo>
                      <a:pt x="727" y="49"/>
                      <a:pt x="727" y="49"/>
                      <a:pt x="727" y="49"/>
                    </a:cubicBezTo>
                    <a:cubicBezTo>
                      <a:pt x="727" y="41"/>
                      <a:pt x="725" y="35"/>
                      <a:pt x="722" y="31"/>
                    </a:cubicBezTo>
                    <a:cubicBezTo>
                      <a:pt x="718" y="28"/>
                      <a:pt x="712" y="26"/>
                      <a:pt x="704" y="26"/>
                    </a:cubicBezTo>
                    <a:cubicBezTo>
                      <a:pt x="700" y="26"/>
                      <a:pt x="696" y="27"/>
                      <a:pt x="692" y="28"/>
                    </a:cubicBezTo>
                    <a:cubicBezTo>
                      <a:pt x="689" y="30"/>
                      <a:pt x="686" y="33"/>
                      <a:pt x="684" y="36"/>
                    </a:cubicBezTo>
                    <a:cubicBezTo>
                      <a:pt x="684" y="36"/>
                      <a:pt x="684" y="36"/>
                      <a:pt x="684" y="36"/>
                    </a:cubicBezTo>
                    <a:cubicBezTo>
                      <a:pt x="684" y="33"/>
                      <a:pt x="684" y="31"/>
                      <a:pt x="684" y="27"/>
                    </a:cubicBezTo>
                    <a:cubicBezTo>
                      <a:pt x="684" y="0"/>
                      <a:pt x="684" y="0"/>
                      <a:pt x="684" y="0"/>
                    </a:cubicBezTo>
                    <a:cubicBezTo>
                      <a:pt x="675" y="0"/>
                      <a:pt x="675" y="0"/>
                      <a:pt x="675" y="0"/>
                    </a:cubicBezTo>
                    <a:cubicBezTo>
                      <a:pt x="675" y="90"/>
                      <a:pt x="675" y="90"/>
                      <a:pt x="675" y="90"/>
                    </a:cubicBezTo>
                    <a:cubicBezTo>
                      <a:pt x="684" y="90"/>
                      <a:pt x="684" y="90"/>
                      <a:pt x="684" y="90"/>
                    </a:cubicBezTo>
                    <a:cubicBezTo>
                      <a:pt x="684" y="57"/>
                      <a:pt x="684" y="57"/>
                      <a:pt x="684" y="57"/>
                    </a:cubicBezTo>
                    <a:cubicBezTo>
                      <a:pt x="684" y="49"/>
                      <a:pt x="686" y="43"/>
                      <a:pt x="689" y="39"/>
                    </a:cubicBezTo>
                    <a:cubicBezTo>
                      <a:pt x="692" y="36"/>
                      <a:pt x="697" y="34"/>
                      <a:pt x="703" y="34"/>
                    </a:cubicBezTo>
                    <a:cubicBezTo>
                      <a:pt x="708" y="34"/>
                      <a:pt x="712" y="35"/>
                      <a:pt x="714" y="38"/>
                    </a:cubicBezTo>
                    <a:cubicBezTo>
                      <a:pt x="717" y="40"/>
                      <a:pt x="718" y="44"/>
                      <a:pt x="718" y="49"/>
                    </a:cubicBezTo>
                    <a:cubicBezTo>
                      <a:pt x="718" y="90"/>
                      <a:pt x="718" y="90"/>
                      <a:pt x="718" y="90"/>
                    </a:cubicBezTo>
                    <a:lnTo>
                      <a:pt x="727" y="90"/>
                    </a:lnTo>
                    <a:close/>
                    <a:moveTo>
                      <a:pt x="644" y="80"/>
                    </a:moveTo>
                    <a:cubicBezTo>
                      <a:pt x="642" y="78"/>
                      <a:pt x="641" y="75"/>
                      <a:pt x="641" y="71"/>
                    </a:cubicBezTo>
                    <a:cubicBezTo>
                      <a:pt x="641" y="34"/>
                      <a:pt x="641" y="34"/>
                      <a:pt x="641" y="34"/>
                    </a:cubicBezTo>
                    <a:cubicBezTo>
                      <a:pt x="660" y="34"/>
                      <a:pt x="660" y="34"/>
                      <a:pt x="660" y="34"/>
                    </a:cubicBezTo>
                    <a:cubicBezTo>
                      <a:pt x="660" y="27"/>
                      <a:pt x="660" y="27"/>
                      <a:pt x="660" y="27"/>
                    </a:cubicBezTo>
                    <a:cubicBezTo>
                      <a:pt x="641" y="27"/>
                      <a:pt x="641" y="27"/>
                      <a:pt x="641" y="27"/>
                    </a:cubicBezTo>
                    <a:cubicBezTo>
                      <a:pt x="641" y="12"/>
                      <a:pt x="641" y="12"/>
                      <a:pt x="641" y="12"/>
                    </a:cubicBezTo>
                    <a:cubicBezTo>
                      <a:pt x="636" y="12"/>
                      <a:pt x="636" y="12"/>
                      <a:pt x="636" y="12"/>
                    </a:cubicBezTo>
                    <a:cubicBezTo>
                      <a:pt x="632" y="26"/>
                      <a:pt x="632" y="26"/>
                      <a:pt x="632" y="26"/>
                    </a:cubicBezTo>
                    <a:cubicBezTo>
                      <a:pt x="623" y="30"/>
                      <a:pt x="623" y="30"/>
                      <a:pt x="623" y="30"/>
                    </a:cubicBezTo>
                    <a:cubicBezTo>
                      <a:pt x="623" y="34"/>
                      <a:pt x="623" y="34"/>
                      <a:pt x="623" y="34"/>
                    </a:cubicBezTo>
                    <a:cubicBezTo>
                      <a:pt x="632" y="34"/>
                      <a:pt x="632" y="34"/>
                      <a:pt x="632" y="34"/>
                    </a:cubicBezTo>
                    <a:cubicBezTo>
                      <a:pt x="632" y="72"/>
                      <a:pt x="632" y="72"/>
                      <a:pt x="632" y="72"/>
                    </a:cubicBezTo>
                    <a:cubicBezTo>
                      <a:pt x="632" y="85"/>
                      <a:pt x="638" y="91"/>
                      <a:pt x="650" y="91"/>
                    </a:cubicBezTo>
                    <a:cubicBezTo>
                      <a:pt x="652" y="91"/>
                      <a:pt x="654" y="91"/>
                      <a:pt x="656" y="91"/>
                    </a:cubicBezTo>
                    <a:cubicBezTo>
                      <a:pt x="658" y="90"/>
                      <a:pt x="659" y="90"/>
                      <a:pt x="660" y="89"/>
                    </a:cubicBezTo>
                    <a:cubicBezTo>
                      <a:pt x="660" y="82"/>
                      <a:pt x="660" y="82"/>
                      <a:pt x="660" y="82"/>
                    </a:cubicBezTo>
                    <a:cubicBezTo>
                      <a:pt x="659" y="82"/>
                      <a:pt x="658" y="83"/>
                      <a:pt x="656" y="83"/>
                    </a:cubicBezTo>
                    <a:cubicBezTo>
                      <a:pt x="655" y="83"/>
                      <a:pt x="653" y="83"/>
                      <a:pt x="651" y="83"/>
                    </a:cubicBezTo>
                    <a:cubicBezTo>
                      <a:pt x="648" y="83"/>
                      <a:pt x="646" y="82"/>
                      <a:pt x="644" y="80"/>
                    </a:cubicBezTo>
                    <a:close/>
                    <a:moveTo>
                      <a:pt x="609" y="0"/>
                    </a:moveTo>
                    <a:cubicBezTo>
                      <a:pt x="599" y="0"/>
                      <a:pt x="599" y="0"/>
                      <a:pt x="599" y="0"/>
                    </a:cubicBezTo>
                    <a:cubicBezTo>
                      <a:pt x="599" y="90"/>
                      <a:pt x="599" y="90"/>
                      <a:pt x="599" y="90"/>
                    </a:cubicBezTo>
                    <a:cubicBezTo>
                      <a:pt x="609" y="90"/>
                      <a:pt x="609" y="90"/>
                      <a:pt x="609" y="90"/>
                    </a:cubicBezTo>
                    <a:lnTo>
                      <a:pt x="609" y="0"/>
                    </a:lnTo>
                    <a:close/>
                    <a:moveTo>
                      <a:pt x="541" y="81"/>
                    </a:moveTo>
                    <a:cubicBezTo>
                      <a:pt x="538" y="79"/>
                      <a:pt x="537" y="76"/>
                      <a:pt x="537" y="73"/>
                    </a:cubicBezTo>
                    <a:cubicBezTo>
                      <a:pt x="537" y="68"/>
                      <a:pt x="539" y="65"/>
                      <a:pt x="542" y="63"/>
                    </a:cubicBezTo>
                    <a:cubicBezTo>
                      <a:pt x="546" y="61"/>
                      <a:pt x="551" y="60"/>
                      <a:pt x="559" y="59"/>
                    </a:cubicBezTo>
                    <a:cubicBezTo>
                      <a:pt x="568" y="59"/>
                      <a:pt x="568" y="59"/>
                      <a:pt x="568" y="59"/>
                    </a:cubicBezTo>
                    <a:cubicBezTo>
                      <a:pt x="568" y="65"/>
                      <a:pt x="568" y="65"/>
                      <a:pt x="568" y="65"/>
                    </a:cubicBezTo>
                    <a:cubicBezTo>
                      <a:pt x="568" y="70"/>
                      <a:pt x="567" y="75"/>
                      <a:pt x="563" y="78"/>
                    </a:cubicBezTo>
                    <a:cubicBezTo>
                      <a:pt x="560" y="82"/>
                      <a:pt x="555" y="83"/>
                      <a:pt x="549" y="83"/>
                    </a:cubicBezTo>
                    <a:cubicBezTo>
                      <a:pt x="546" y="83"/>
                      <a:pt x="543" y="82"/>
                      <a:pt x="541" y="81"/>
                    </a:cubicBezTo>
                    <a:close/>
                    <a:moveTo>
                      <a:pt x="578" y="90"/>
                    </a:moveTo>
                    <a:cubicBezTo>
                      <a:pt x="578" y="47"/>
                      <a:pt x="578" y="47"/>
                      <a:pt x="578" y="47"/>
                    </a:cubicBezTo>
                    <a:cubicBezTo>
                      <a:pt x="578" y="39"/>
                      <a:pt x="576" y="34"/>
                      <a:pt x="573" y="31"/>
                    </a:cubicBezTo>
                    <a:cubicBezTo>
                      <a:pt x="569" y="27"/>
                      <a:pt x="563" y="26"/>
                      <a:pt x="556" y="26"/>
                    </a:cubicBezTo>
                    <a:cubicBezTo>
                      <a:pt x="552" y="26"/>
                      <a:pt x="548" y="26"/>
                      <a:pt x="545" y="27"/>
                    </a:cubicBezTo>
                    <a:cubicBezTo>
                      <a:pt x="541" y="28"/>
                      <a:pt x="538" y="29"/>
                      <a:pt x="534" y="31"/>
                    </a:cubicBezTo>
                    <a:cubicBezTo>
                      <a:pt x="537" y="38"/>
                      <a:pt x="537" y="38"/>
                      <a:pt x="537" y="38"/>
                    </a:cubicBezTo>
                    <a:cubicBezTo>
                      <a:pt x="544" y="35"/>
                      <a:pt x="550" y="34"/>
                      <a:pt x="555" y="34"/>
                    </a:cubicBezTo>
                    <a:cubicBezTo>
                      <a:pt x="560" y="34"/>
                      <a:pt x="563" y="35"/>
                      <a:pt x="565" y="37"/>
                    </a:cubicBezTo>
                    <a:cubicBezTo>
                      <a:pt x="568" y="40"/>
                      <a:pt x="569" y="43"/>
                      <a:pt x="569" y="48"/>
                    </a:cubicBezTo>
                    <a:cubicBezTo>
                      <a:pt x="569" y="52"/>
                      <a:pt x="569" y="52"/>
                      <a:pt x="569" y="52"/>
                    </a:cubicBezTo>
                    <a:cubicBezTo>
                      <a:pt x="558" y="52"/>
                      <a:pt x="558" y="52"/>
                      <a:pt x="558" y="52"/>
                    </a:cubicBezTo>
                    <a:cubicBezTo>
                      <a:pt x="538" y="53"/>
                      <a:pt x="527" y="60"/>
                      <a:pt x="527" y="72"/>
                    </a:cubicBezTo>
                    <a:cubicBezTo>
                      <a:pt x="527" y="78"/>
                      <a:pt x="529" y="83"/>
                      <a:pt x="533" y="86"/>
                    </a:cubicBezTo>
                    <a:cubicBezTo>
                      <a:pt x="536" y="89"/>
                      <a:pt x="541" y="91"/>
                      <a:pt x="547" y="91"/>
                    </a:cubicBezTo>
                    <a:cubicBezTo>
                      <a:pt x="552" y="91"/>
                      <a:pt x="556" y="90"/>
                      <a:pt x="559" y="89"/>
                    </a:cubicBezTo>
                    <a:cubicBezTo>
                      <a:pt x="562" y="88"/>
                      <a:pt x="565" y="85"/>
                      <a:pt x="569" y="81"/>
                    </a:cubicBezTo>
                    <a:cubicBezTo>
                      <a:pt x="569" y="81"/>
                      <a:pt x="569" y="81"/>
                      <a:pt x="569" y="81"/>
                    </a:cubicBezTo>
                    <a:cubicBezTo>
                      <a:pt x="571" y="90"/>
                      <a:pt x="571" y="90"/>
                      <a:pt x="571" y="90"/>
                    </a:cubicBezTo>
                    <a:lnTo>
                      <a:pt x="578" y="90"/>
                    </a:lnTo>
                    <a:close/>
                    <a:moveTo>
                      <a:pt x="500" y="38"/>
                    </a:moveTo>
                    <a:cubicBezTo>
                      <a:pt x="502" y="42"/>
                      <a:pt x="504" y="46"/>
                      <a:pt x="504" y="52"/>
                    </a:cubicBezTo>
                    <a:cubicBezTo>
                      <a:pt x="471" y="52"/>
                      <a:pt x="471" y="52"/>
                      <a:pt x="471" y="52"/>
                    </a:cubicBezTo>
                    <a:cubicBezTo>
                      <a:pt x="471" y="46"/>
                      <a:pt x="473" y="42"/>
                      <a:pt x="476" y="39"/>
                    </a:cubicBezTo>
                    <a:cubicBezTo>
                      <a:pt x="479" y="35"/>
                      <a:pt x="483" y="34"/>
                      <a:pt x="488" y="34"/>
                    </a:cubicBezTo>
                    <a:cubicBezTo>
                      <a:pt x="493" y="34"/>
                      <a:pt x="497" y="35"/>
                      <a:pt x="500" y="38"/>
                    </a:cubicBezTo>
                    <a:close/>
                    <a:moveTo>
                      <a:pt x="502" y="90"/>
                    </a:moveTo>
                    <a:cubicBezTo>
                      <a:pt x="505" y="90"/>
                      <a:pt x="508" y="88"/>
                      <a:pt x="511" y="87"/>
                    </a:cubicBezTo>
                    <a:cubicBezTo>
                      <a:pt x="511" y="78"/>
                      <a:pt x="511" y="78"/>
                      <a:pt x="511" y="78"/>
                    </a:cubicBezTo>
                    <a:cubicBezTo>
                      <a:pt x="505" y="81"/>
                      <a:pt x="498" y="83"/>
                      <a:pt x="491" y="83"/>
                    </a:cubicBezTo>
                    <a:cubicBezTo>
                      <a:pt x="485" y="83"/>
                      <a:pt x="480" y="81"/>
                      <a:pt x="476" y="77"/>
                    </a:cubicBezTo>
                    <a:cubicBezTo>
                      <a:pt x="473" y="73"/>
                      <a:pt x="471" y="68"/>
                      <a:pt x="471" y="60"/>
                    </a:cubicBezTo>
                    <a:cubicBezTo>
                      <a:pt x="514" y="60"/>
                      <a:pt x="514" y="60"/>
                      <a:pt x="514" y="60"/>
                    </a:cubicBezTo>
                    <a:cubicBezTo>
                      <a:pt x="514" y="54"/>
                      <a:pt x="514" y="54"/>
                      <a:pt x="514" y="54"/>
                    </a:cubicBezTo>
                    <a:cubicBezTo>
                      <a:pt x="514" y="46"/>
                      <a:pt x="512" y="39"/>
                      <a:pt x="507" y="33"/>
                    </a:cubicBezTo>
                    <a:cubicBezTo>
                      <a:pt x="502" y="28"/>
                      <a:pt x="496" y="26"/>
                      <a:pt x="488" y="26"/>
                    </a:cubicBezTo>
                    <a:cubicBezTo>
                      <a:pt x="480" y="26"/>
                      <a:pt x="473" y="29"/>
                      <a:pt x="468" y="35"/>
                    </a:cubicBezTo>
                    <a:cubicBezTo>
                      <a:pt x="463" y="41"/>
                      <a:pt x="461" y="49"/>
                      <a:pt x="461" y="59"/>
                    </a:cubicBezTo>
                    <a:cubicBezTo>
                      <a:pt x="461" y="69"/>
                      <a:pt x="463" y="77"/>
                      <a:pt x="469" y="83"/>
                    </a:cubicBezTo>
                    <a:cubicBezTo>
                      <a:pt x="474" y="88"/>
                      <a:pt x="481" y="91"/>
                      <a:pt x="491" y="91"/>
                    </a:cubicBezTo>
                    <a:cubicBezTo>
                      <a:pt x="495" y="91"/>
                      <a:pt x="499" y="91"/>
                      <a:pt x="502" y="90"/>
                    </a:cubicBezTo>
                    <a:close/>
                    <a:moveTo>
                      <a:pt x="441" y="6"/>
                    </a:moveTo>
                    <a:cubicBezTo>
                      <a:pt x="431" y="6"/>
                      <a:pt x="431" y="6"/>
                      <a:pt x="431" y="6"/>
                    </a:cubicBezTo>
                    <a:cubicBezTo>
                      <a:pt x="431" y="42"/>
                      <a:pt x="431" y="42"/>
                      <a:pt x="431" y="42"/>
                    </a:cubicBezTo>
                    <a:cubicBezTo>
                      <a:pt x="387" y="42"/>
                      <a:pt x="387" y="42"/>
                      <a:pt x="387" y="42"/>
                    </a:cubicBezTo>
                    <a:cubicBezTo>
                      <a:pt x="387" y="6"/>
                      <a:pt x="387" y="6"/>
                      <a:pt x="387" y="6"/>
                    </a:cubicBezTo>
                    <a:cubicBezTo>
                      <a:pt x="377" y="6"/>
                      <a:pt x="377" y="6"/>
                      <a:pt x="377" y="6"/>
                    </a:cubicBezTo>
                    <a:cubicBezTo>
                      <a:pt x="377" y="90"/>
                      <a:pt x="377" y="90"/>
                      <a:pt x="377" y="90"/>
                    </a:cubicBezTo>
                    <a:cubicBezTo>
                      <a:pt x="387" y="90"/>
                      <a:pt x="387" y="90"/>
                      <a:pt x="387" y="90"/>
                    </a:cubicBezTo>
                    <a:cubicBezTo>
                      <a:pt x="387" y="50"/>
                      <a:pt x="387" y="50"/>
                      <a:pt x="387" y="50"/>
                    </a:cubicBezTo>
                    <a:cubicBezTo>
                      <a:pt x="431" y="50"/>
                      <a:pt x="431" y="50"/>
                      <a:pt x="431" y="50"/>
                    </a:cubicBezTo>
                    <a:cubicBezTo>
                      <a:pt x="431" y="90"/>
                      <a:pt x="431" y="90"/>
                      <a:pt x="431" y="90"/>
                    </a:cubicBezTo>
                    <a:cubicBezTo>
                      <a:pt x="441" y="90"/>
                      <a:pt x="441" y="90"/>
                      <a:pt x="441" y="90"/>
                    </a:cubicBezTo>
                    <a:lnTo>
                      <a:pt x="441" y="6"/>
                    </a:lnTo>
                    <a:close/>
                    <a:moveTo>
                      <a:pt x="312" y="80"/>
                    </a:moveTo>
                    <a:cubicBezTo>
                      <a:pt x="311" y="78"/>
                      <a:pt x="310" y="75"/>
                      <a:pt x="310" y="71"/>
                    </a:cubicBezTo>
                    <a:cubicBezTo>
                      <a:pt x="310" y="34"/>
                      <a:pt x="310" y="34"/>
                      <a:pt x="310" y="34"/>
                    </a:cubicBezTo>
                    <a:cubicBezTo>
                      <a:pt x="328" y="34"/>
                      <a:pt x="328" y="34"/>
                      <a:pt x="328" y="34"/>
                    </a:cubicBezTo>
                    <a:cubicBezTo>
                      <a:pt x="328" y="27"/>
                      <a:pt x="328" y="27"/>
                      <a:pt x="328" y="27"/>
                    </a:cubicBezTo>
                    <a:cubicBezTo>
                      <a:pt x="310" y="27"/>
                      <a:pt x="310" y="27"/>
                      <a:pt x="310" y="27"/>
                    </a:cubicBezTo>
                    <a:cubicBezTo>
                      <a:pt x="310" y="12"/>
                      <a:pt x="310" y="12"/>
                      <a:pt x="310" y="12"/>
                    </a:cubicBezTo>
                    <a:cubicBezTo>
                      <a:pt x="304" y="12"/>
                      <a:pt x="304" y="12"/>
                      <a:pt x="304" y="12"/>
                    </a:cubicBezTo>
                    <a:cubicBezTo>
                      <a:pt x="300" y="26"/>
                      <a:pt x="300" y="26"/>
                      <a:pt x="300" y="26"/>
                    </a:cubicBezTo>
                    <a:cubicBezTo>
                      <a:pt x="291" y="30"/>
                      <a:pt x="291" y="30"/>
                      <a:pt x="291" y="30"/>
                    </a:cubicBezTo>
                    <a:cubicBezTo>
                      <a:pt x="291" y="34"/>
                      <a:pt x="291" y="34"/>
                      <a:pt x="291" y="34"/>
                    </a:cubicBezTo>
                    <a:cubicBezTo>
                      <a:pt x="300" y="34"/>
                      <a:pt x="300" y="34"/>
                      <a:pt x="300" y="34"/>
                    </a:cubicBezTo>
                    <a:cubicBezTo>
                      <a:pt x="300" y="72"/>
                      <a:pt x="300" y="72"/>
                      <a:pt x="300" y="72"/>
                    </a:cubicBezTo>
                    <a:cubicBezTo>
                      <a:pt x="300" y="85"/>
                      <a:pt x="306" y="91"/>
                      <a:pt x="318" y="91"/>
                    </a:cubicBezTo>
                    <a:cubicBezTo>
                      <a:pt x="320" y="91"/>
                      <a:pt x="322" y="91"/>
                      <a:pt x="324" y="91"/>
                    </a:cubicBezTo>
                    <a:cubicBezTo>
                      <a:pt x="326" y="90"/>
                      <a:pt x="327" y="90"/>
                      <a:pt x="328" y="89"/>
                    </a:cubicBezTo>
                    <a:cubicBezTo>
                      <a:pt x="328" y="82"/>
                      <a:pt x="328" y="82"/>
                      <a:pt x="328" y="82"/>
                    </a:cubicBezTo>
                    <a:cubicBezTo>
                      <a:pt x="328" y="82"/>
                      <a:pt x="326" y="83"/>
                      <a:pt x="325" y="83"/>
                    </a:cubicBezTo>
                    <a:cubicBezTo>
                      <a:pt x="323" y="83"/>
                      <a:pt x="322" y="83"/>
                      <a:pt x="320" y="83"/>
                    </a:cubicBezTo>
                    <a:cubicBezTo>
                      <a:pt x="317" y="83"/>
                      <a:pt x="314" y="82"/>
                      <a:pt x="312" y="80"/>
                    </a:cubicBezTo>
                    <a:close/>
                    <a:moveTo>
                      <a:pt x="267" y="29"/>
                    </a:moveTo>
                    <a:cubicBezTo>
                      <a:pt x="264" y="31"/>
                      <a:pt x="261" y="34"/>
                      <a:pt x="259" y="38"/>
                    </a:cubicBezTo>
                    <a:cubicBezTo>
                      <a:pt x="258" y="38"/>
                      <a:pt x="258" y="38"/>
                      <a:pt x="258" y="38"/>
                    </a:cubicBezTo>
                    <a:cubicBezTo>
                      <a:pt x="257" y="27"/>
                      <a:pt x="257" y="27"/>
                      <a:pt x="257" y="27"/>
                    </a:cubicBezTo>
                    <a:cubicBezTo>
                      <a:pt x="249" y="27"/>
                      <a:pt x="249" y="27"/>
                      <a:pt x="249" y="27"/>
                    </a:cubicBezTo>
                    <a:cubicBezTo>
                      <a:pt x="249" y="90"/>
                      <a:pt x="249" y="90"/>
                      <a:pt x="249" y="90"/>
                    </a:cubicBezTo>
                    <a:cubicBezTo>
                      <a:pt x="259" y="90"/>
                      <a:pt x="259" y="90"/>
                      <a:pt x="259" y="90"/>
                    </a:cubicBezTo>
                    <a:cubicBezTo>
                      <a:pt x="259" y="56"/>
                      <a:pt x="259" y="56"/>
                      <a:pt x="259" y="56"/>
                    </a:cubicBezTo>
                    <a:cubicBezTo>
                      <a:pt x="259" y="50"/>
                      <a:pt x="261" y="45"/>
                      <a:pt x="265" y="41"/>
                    </a:cubicBezTo>
                    <a:cubicBezTo>
                      <a:pt x="268" y="36"/>
                      <a:pt x="273" y="34"/>
                      <a:pt x="278" y="34"/>
                    </a:cubicBezTo>
                    <a:cubicBezTo>
                      <a:pt x="280" y="34"/>
                      <a:pt x="282" y="35"/>
                      <a:pt x="285" y="35"/>
                    </a:cubicBezTo>
                    <a:cubicBezTo>
                      <a:pt x="286" y="26"/>
                      <a:pt x="286" y="26"/>
                      <a:pt x="286" y="26"/>
                    </a:cubicBezTo>
                    <a:cubicBezTo>
                      <a:pt x="284" y="26"/>
                      <a:pt x="281" y="26"/>
                      <a:pt x="278" y="26"/>
                    </a:cubicBezTo>
                    <a:cubicBezTo>
                      <a:pt x="274" y="26"/>
                      <a:pt x="271" y="27"/>
                      <a:pt x="267" y="29"/>
                    </a:cubicBezTo>
                    <a:close/>
                    <a:moveTo>
                      <a:pt x="191" y="81"/>
                    </a:moveTo>
                    <a:cubicBezTo>
                      <a:pt x="188" y="79"/>
                      <a:pt x="187" y="76"/>
                      <a:pt x="187" y="73"/>
                    </a:cubicBezTo>
                    <a:cubicBezTo>
                      <a:pt x="187" y="68"/>
                      <a:pt x="189" y="65"/>
                      <a:pt x="192" y="63"/>
                    </a:cubicBezTo>
                    <a:cubicBezTo>
                      <a:pt x="196" y="61"/>
                      <a:pt x="201" y="60"/>
                      <a:pt x="209" y="59"/>
                    </a:cubicBezTo>
                    <a:cubicBezTo>
                      <a:pt x="218" y="59"/>
                      <a:pt x="218" y="59"/>
                      <a:pt x="218" y="59"/>
                    </a:cubicBezTo>
                    <a:cubicBezTo>
                      <a:pt x="218" y="65"/>
                      <a:pt x="218" y="65"/>
                      <a:pt x="218" y="65"/>
                    </a:cubicBezTo>
                    <a:cubicBezTo>
                      <a:pt x="218" y="70"/>
                      <a:pt x="217" y="75"/>
                      <a:pt x="213" y="78"/>
                    </a:cubicBezTo>
                    <a:cubicBezTo>
                      <a:pt x="210" y="82"/>
                      <a:pt x="205" y="83"/>
                      <a:pt x="199" y="83"/>
                    </a:cubicBezTo>
                    <a:cubicBezTo>
                      <a:pt x="196" y="83"/>
                      <a:pt x="193" y="82"/>
                      <a:pt x="191" y="81"/>
                    </a:cubicBezTo>
                    <a:close/>
                    <a:moveTo>
                      <a:pt x="228" y="90"/>
                    </a:moveTo>
                    <a:cubicBezTo>
                      <a:pt x="228" y="47"/>
                      <a:pt x="228" y="47"/>
                      <a:pt x="228" y="47"/>
                    </a:cubicBezTo>
                    <a:cubicBezTo>
                      <a:pt x="228" y="39"/>
                      <a:pt x="226" y="34"/>
                      <a:pt x="223" y="31"/>
                    </a:cubicBezTo>
                    <a:cubicBezTo>
                      <a:pt x="219" y="27"/>
                      <a:pt x="213" y="26"/>
                      <a:pt x="206" y="26"/>
                    </a:cubicBezTo>
                    <a:cubicBezTo>
                      <a:pt x="202" y="26"/>
                      <a:pt x="198" y="26"/>
                      <a:pt x="195" y="27"/>
                    </a:cubicBezTo>
                    <a:cubicBezTo>
                      <a:pt x="191" y="28"/>
                      <a:pt x="188" y="29"/>
                      <a:pt x="184" y="31"/>
                    </a:cubicBezTo>
                    <a:cubicBezTo>
                      <a:pt x="187" y="38"/>
                      <a:pt x="187" y="38"/>
                      <a:pt x="187" y="38"/>
                    </a:cubicBezTo>
                    <a:cubicBezTo>
                      <a:pt x="194" y="35"/>
                      <a:pt x="200" y="34"/>
                      <a:pt x="205" y="34"/>
                    </a:cubicBezTo>
                    <a:cubicBezTo>
                      <a:pt x="210" y="34"/>
                      <a:pt x="213" y="35"/>
                      <a:pt x="215" y="37"/>
                    </a:cubicBezTo>
                    <a:cubicBezTo>
                      <a:pt x="218" y="40"/>
                      <a:pt x="219" y="43"/>
                      <a:pt x="219" y="48"/>
                    </a:cubicBezTo>
                    <a:cubicBezTo>
                      <a:pt x="219" y="52"/>
                      <a:pt x="219" y="52"/>
                      <a:pt x="219" y="52"/>
                    </a:cubicBezTo>
                    <a:cubicBezTo>
                      <a:pt x="208" y="52"/>
                      <a:pt x="208" y="52"/>
                      <a:pt x="208" y="52"/>
                    </a:cubicBezTo>
                    <a:cubicBezTo>
                      <a:pt x="188" y="53"/>
                      <a:pt x="177" y="60"/>
                      <a:pt x="177" y="72"/>
                    </a:cubicBezTo>
                    <a:cubicBezTo>
                      <a:pt x="177" y="78"/>
                      <a:pt x="179" y="83"/>
                      <a:pt x="183" y="86"/>
                    </a:cubicBezTo>
                    <a:cubicBezTo>
                      <a:pt x="186" y="89"/>
                      <a:pt x="191" y="91"/>
                      <a:pt x="197" y="91"/>
                    </a:cubicBezTo>
                    <a:cubicBezTo>
                      <a:pt x="202" y="91"/>
                      <a:pt x="206" y="90"/>
                      <a:pt x="209" y="89"/>
                    </a:cubicBezTo>
                    <a:cubicBezTo>
                      <a:pt x="212" y="88"/>
                      <a:pt x="215" y="85"/>
                      <a:pt x="219" y="81"/>
                    </a:cubicBezTo>
                    <a:cubicBezTo>
                      <a:pt x="219" y="81"/>
                      <a:pt x="219" y="81"/>
                      <a:pt x="219" y="81"/>
                    </a:cubicBezTo>
                    <a:cubicBezTo>
                      <a:pt x="221" y="90"/>
                      <a:pt x="221" y="90"/>
                      <a:pt x="221" y="90"/>
                    </a:cubicBezTo>
                    <a:lnTo>
                      <a:pt x="228" y="90"/>
                    </a:lnTo>
                    <a:close/>
                    <a:moveTo>
                      <a:pt x="161" y="90"/>
                    </a:moveTo>
                    <a:cubicBezTo>
                      <a:pt x="161" y="49"/>
                      <a:pt x="161" y="49"/>
                      <a:pt x="161" y="49"/>
                    </a:cubicBezTo>
                    <a:cubicBezTo>
                      <a:pt x="161" y="41"/>
                      <a:pt x="159" y="35"/>
                      <a:pt x="155" y="31"/>
                    </a:cubicBezTo>
                    <a:cubicBezTo>
                      <a:pt x="152" y="27"/>
                      <a:pt x="146" y="26"/>
                      <a:pt x="139" y="26"/>
                    </a:cubicBezTo>
                    <a:cubicBezTo>
                      <a:pt x="135" y="26"/>
                      <a:pt x="131" y="27"/>
                      <a:pt x="127" y="29"/>
                    </a:cubicBezTo>
                    <a:cubicBezTo>
                      <a:pt x="123" y="30"/>
                      <a:pt x="121" y="33"/>
                      <a:pt x="119" y="36"/>
                    </a:cubicBezTo>
                    <a:cubicBezTo>
                      <a:pt x="118" y="36"/>
                      <a:pt x="118" y="36"/>
                      <a:pt x="118" y="36"/>
                    </a:cubicBezTo>
                    <a:cubicBezTo>
                      <a:pt x="115" y="29"/>
                      <a:pt x="109" y="26"/>
                      <a:pt x="99" y="26"/>
                    </a:cubicBezTo>
                    <a:cubicBezTo>
                      <a:pt x="95" y="26"/>
                      <a:pt x="91" y="27"/>
                      <a:pt x="88" y="28"/>
                    </a:cubicBezTo>
                    <a:cubicBezTo>
                      <a:pt x="85" y="30"/>
                      <a:pt x="82" y="32"/>
                      <a:pt x="80" y="35"/>
                    </a:cubicBezTo>
                    <a:cubicBezTo>
                      <a:pt x="80" y="35"/>
                      <a:pt x="80" y="35"/>
                      <a:pt x="80" y="35"/>
                    </a:cubicBezTo>
                    <a:cubicBezTo>
                      <a:pt x="78" y="27"/>
                      <a:pt x="78" y="27"/>
                      <a:pt x="78" y="27"/>
                    </a:cubicBezTo>
                    <a:cubicBezTo>
                      <a:pt x="71" y="27"/>
                      <a:pt x="71" y="27"/>
                      <a:pt x="71" y="27"/>
                    </a:cubicBezTo>
                    <a:cubicBezTo>
                      <a:pt x="71" y="90"/>
                      <a:pt x="71" y="90"/>
                      <a:pt x="71" y="90"/>
                    </a:cubicBezTo>
                    <a:cubicBezTo>
                      <a:pt x="80" y="90"/>
                      <a:pt x="80" y="90"/>
                      <a:pt x="80" y="90"/>
                    </a:cubicBezTo>
                    <a:cubicBezTo>
                      <a:pt x="80" y="57"/>
                      <a:pt x="80" y="57"/>
                      <a:pt x="80" y="57"/>
                    </a:cubicBezTo>
                    <a:cubicBezTo>
                      <a:pt x="80" y="49"/>
                      <a:pt x="82" y="43"/>
                      <a:pt x="84" y="39"/>
                    </a:cubicBezTo>
                    <a:cubicBezTo>
                      <a:pt x="87" y="36"/>
                      <a:pt x="91" y="34"/>
                      <a:pt x="97" y="34"/>
                    </a:cubicBezTo>
                    <a:cubicBezTo>
                      <a:pt x="102" y="34"/>
                      <a:pt x="105" y="35"/>
                      <a:pt x="108" y="38"/>
                    </a:cubicBezTo>
                    <a:cubicBezTo>
                      <a:pt x="110" y="40"/>
                      <a:pt x="111" y="44"/>
                      <a:pt x="111" y="49"/>
                    </a:cubicBezTo>
                    <a:cubicBezTo>
                      <a:pt x="111" y="90"/>
                      <a:pt x="111" y="90"/>
                      <a:pt x="111" y="90"/>
                    </a:cubicBezTo>
                    <a:cubicBezTo>
                      <a:pt x="120" y="90"/>
                      <a:pt x="120" y="90"/>
                      <a:pt x="120" y="90"/>
                    </a:cubicBezTo>
                    <a:cubicBezTo>
                      <a:pt x="120" y="55"/>
                      <a:pt x="120" y="55"/>
                      <a:pt x="120" y="55"/>
                    </a:cubicBezTo>
                    <a:cubicBezTo>
                      <a:pt x="120" y="48"/>
                      <a:pt x="122" y="42"/>
                      <a:pt x="125" y="39"/>
                    </a:cubicBezTo>
                    <a:cubicBezTo>
                      <a:pt x="127" y="35"/>
                      <a:pt x="132" y="34"/>
                      <a:pt x="138" y="34"/>
                    </a:cubicBezTo>
                    <a:cubicBezTo>
                      <a:pt x="142" y="34"/>
                      <a:pt x="146" y="35"/>
                      <a:pt x="148" y="38"/>
                    </a:cubicBezTo>
                    <a:cubicBezTo>
                      <a:pt x="150" y="40"/>
                      <a:pt x="151" y="44"/>
                      <a:pt x="151" y="49"/>
                    </a:cubicBezTo>
                    <a:cubicBezTo>
                      <a:pt x="151" y="90"/>
                      <a:pt x="151" y="90"/>
                      <a:pt x="151" y="90"/>
                    </a:cubicBezTo>
                    <a:lnTo>
                      <a:pt x="161" y="90"/>
                    </a:lnTo>
                    <a:close/>
                    <a:moveTo>
                      <a:pt x="48" y="53"/>
                    </a:moveTo>
                    <a:cubicBezTo>
                      <a:pt x="45" y="50"/>
                      <a:pt x="39" y="46"/>
                      <a:pt x="30" y="43"/>
                    </a:cubicBezTo>
                    <a:cubicBezTo>
                      <a:pt x="25" y="41"/>
                      <a:pt x="21" y="40"/>
                      <a:pt x="18" y="38"/>
                    </a:cubicBezTo>
                    <a:cubicBezTo>
                      <a:pt x="16" y="37"/>
                      <a:pt x="14" y="35"/>
                      <a:pt x="13" y="33"/>
                    </a:cubicBezTo>
                    <a:cubicBezTo>
                      <a:pt x="12" y="31"/>
                      <a:pt x="11" y="29"/>
                      <a:pt x="11" y="26"/>
                    </a:cubicBezTo>
                    <a:cubicBezTo>
                      <a:pt x="11" y="22"/>
                      <a:pt x="12" y="19"/>
                      <a:pt x="15" y="17"/>
                    </a:cubicBezTo>
                    <a:cubicBezTo>
                      <a:pt x="18" y="14"/>
                      <a:pt x="22" y="13"/>
                      <a:pt x="28" y="13"/>
                    </a:cubicBezTo>
                    <a:cubicBezTo>
                      <a:pt x="34" y="13"/>
                      <a:pt x="41" y="15"/>
                      <a:pt x="48" y="18"/>
                    </a:cubicBezTo>
                    <a:cubicBezTo>
                      <a:pt x="51" y="9"/>
                      <a:pt x="51" y="9"/>
                      <a:pt x="51" y="9"/>
                    </a:cubicBezTo>
                    <a:cubicBezTo>
                      <a:pt x="44" y="6"/>
                      <a:pt x="36" y="5"/>
                      <a:pt x="28" y="5"/>
                    </a:cubicBezTo>
                    <a:cubicBezTo>
                      <a:pt x="20" y="5"/>
                      <a:pt x="13" y="6"/>
                      <a:pt x="8" y="10"/>
                    </a:cubicBezTo>
                    <a:cubicBezTo>
                      <a:pt x="4" y="14"/>
                      <a:pt x="1" y="19"/>
                      <a:pt x="1" y="26"/>
                    </a:cubicBezTo>
                    <a:cubicBezTo>
                      <a:pt x="1" y="32"/>
                      <a:pt x="3" y="37"/>
                      <a:pt x="6" y="41"/>
                    </a:cubicBezTo>
                    <a:cubicBezTo>
                      <a:pt x="9" y="45"/>
                      <a:pt x="15" y="48"/>
                      <a:pt x="23" y="51"/>
                    </a:cubicBezTo>
                    <a:cubicBezTo>
                      <a:pt x="29" y="53"/>
                      <a:pt x="33" y="55"/>
                      <a:pt x="35" y="56"/>
                    </a:cubicBezTo>
                    <a:cubicBezTo>
                      <a:pt x="38" y="58"/>
                      <a:pt x="40" y="59"/>
                      <a:pt x="41" y="61"/>
                    </a:cubicBezTo>
                    <a:cubicBezTo>
                      <a:pt x="43" y="63"/>
                      <a:pt x="43" y="66"/>
                      <a:pt x="43" y="68"/>
                    </a:cubicBezTo>
                    <a:cubicBezTo>
                      <a:pt x="43" y="73"/>
                      <a:pt x="41" y="76"/>
                      <a:pt x="38" y="79"/>
                    </a:cubicBezTo>
                    <a:cubicBezTo>
                      <a:pt x="35" y="81"/>
                      <a:pt x="30" y="83"/>
                      <a:pt x="23" y="83"/>
                    </a:cubicBezTo>
                    <a:cubicBezTo>
                      <a:pt x="19" y="83"/>
                      <a:pt x="15" y="82"/>
                      <a:pt x="11" y="81"/>
                    </a:cubicBezTo>
                    <a:cubicBezTo>
                      <a:pt x="7" y="80"/>
                      <a:pt x="3" y="79"/>
                      <a:pt x="0" y="78"/>
                    </a:cubicBezTo>
                    <a:cubicBezTo>
                      <a:pt x="0" y="87"/>
                      <a:pt x="0" y="87"/>
                      <a:pt x="0" y="87"/>
                    </a:cubicBezTo>
                    <a:cubicBezTo>
                      <a:pt x="5" y="90"/>
                      <a:pt x="13" y="91"/>
                      <a:pt x="23" y="91"/>
                    </a:cubicBezTo>
                    <a:cubicBezTo>
                      <a:pt x="32" y="91"/>
                      <a:pt x="40" y="89"/>
                      <a:pt x="45" y="85"/>
                    </a:cubicBezTo>
                    <a:cubicBezTo>
                      <a:pt x="50" y="81"/>
                      <a:pt x="53" y="75"/>
                      <a:pt x="53" y="68"/>
                    </a:cubicBezTo>
                    <a:cubicBezTo>
                      <a:pt x="53" y="62"/>
                      <a:pt x="51" y="57"/>
                      <a:pt x="48" y="5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</p:grpSp>
      </p:grpSp>
      <p:sp>
        <p:nvSpPr>
          <p:cNvPr id="36" name="Shape 103">
            <a:extLst>
              <a:ext uri="{FF2B5EF4-FFF2-40B4-BE49-F238E27FC236}">
                <a16:creationId xmlns:a16="http://schemas.microsoft.com/office/drawing/2014/main" id="{164F5478-B36E-4CE0-817E-5C7FAF0E7F7C}"/>
              </a:ext>
            </a:extLst>
          </p:cNvPr>
          <p:cNvSpPr txBox="1"/>
          <p:nvPr userDrawn="1"/>
        </p:nvSpPr>
        <p:spPr bwMode="gray">
          <a:xfrm>
            <a:off x="540000" y="6498488"/>
            <a:ext cx="1593600" cy="21600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  <a:tabLst/>
              <a:defRPr/>
            </a:pPr>
            <a:r>
              <a:rPr lang="en-US" sz="900">
                <a:solidFill>
                  <a:schemeClr val="tx2">
                    <a:lumMod val="75000"/>
                  </a:schemeClr>
                </a:solidFill>
              </a:rPr>
              <a:t>© Copyright 2022 - m.Doc GmbH</a:t>
            </a:r>
            <a:endParaRPr lang="de-DE" sz="900">
              <a:solidFill>
                <a:schemeClr val="tx2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722967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spd="slow">
        <p:split orient="vert"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&amp; UNTER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B04C215-6739-4902-8578-E5D881D35A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540000" y="523874"/>
            <a:ext cx="11109600" cy="988125"/>
          </a:xfrm>
          <a:prstGeom prst="rect">
            <a:avLst/>
          </a:prstGeo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6" name="Untertitel">
            <a:extLst>
              <a:ext uri="{FF2B5EF4-FFF2-40B4-BE49-F238E27FC236}">
                <a16:creationId xmlns:a16="http://schemas.microsoft.com/office/drawing/2014/main" id="{04BD9532-69F6-4290-BB71-35CB046BA41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40000" y="899999"/>
            <a:ext cx="11109600" cy="612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aseline="0">
                <a:solidFill>
                  <a:schemeClr val="accent5"/>
                </a:solidFill>
              </a:defRPr>
            </a:lvl1pPr>
          </a:lstStyle>
          <a:p>
            <a:r>
              <a:rPr lang="de-DE" noProof="0"/>
              <a:t>Geben Sie Ihren Untertitel ein</a:t>
            </a:r>
          </a:p>
        </p:txBody>
      </p:sp>
    </p:spTree>
    <p:extLst>
      <p:ext uri="{BB962C8B-B14F-4D97-AF65-F5344CB8AC3E}">
        <p14:creationId xmlns:p14="http://schemas.microsoft.com/office/powerpoint/2010/main" val="5570041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spd="slow">
        <p:split orient="vert"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png"/><Relationship Id="rId3" Type="http://schemas.openxmlformats.org/officeDocument/2006/relationships/slideLayout" Target="../slideLayouts/slideLayout10.xml"/><Relationship Id="rId7" Type="http://schemas.openxmlformats.org/officeDocument/2006/relationships/theme" Target="../theme/theme2.xml"/><Relationship Id="rId2" Type="http://schemas.openxmlformats.org/officeDocument/2006/relationships/slideLayout" Target="../slideLayouts/slideLayout9.xml"/><Relationship Id="rId1" Type="http://schemas.openxmlformats.org/officeDocument/2006/relationships/slideLayout" Target="../slideLayouts/slideLayout8.xml"/><Relationship Id="rId6" Type="http://schemas.openxmlformats.org/officeDocument/2006/relationships/slideLayout" Target="../slideLayouts/slideLayout13.xml"/><Relationship Id="rId5" Type="http://schemas.openxmlformats.org/officeDocument/2006/relationships/slideLayout" Target="../slideLayouts/slideLayout12.xml"/><Relationship Id="rId4" Type="http://schemas.openxmlformats.org/officeDocument/2006/relationships/slideLayout" Target="../slideLayouts/slideLayout1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"/>
          <p:cNvSpPr>
            <a:spLocks noGrp="1"/>
          </p:cNvSpPr>
          <p:nvPr>
            <p:ph type="title"/>
          </p:nvPr>
        </p:nvSpPr>
        <p:spPr bwMode="gray">
          <a:xfrm>
            <a:off x="540000" y="523874"/>
            <a:ext cx="11109600" cy="988125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DE" noProof="0"/>
              <a:t>Titelmasterformat durch Klicken bearbeiten</a:t>
            </a:r>
          </a:p>
        </p:txBody>
      </p:sp>
      <p:sp>
        <p:nvSpPr>
          <p:cNvPr id="3" name="Inhalt"/>
          <p:cNvSpPr>
            <a:spLocks noGrp="1"/>
          </p:cNvSpPr>
          <p:nvPr>
            <p:ph type="body" idx="1"/>
          </p:nvPr>
        </p:nvSpPr>
        <p:spPr bwMode="gray">
          <a:xfrm>
            <a:off x="540000" y="1512000"/>
            <a:ext cx="11109600" cy="42984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</p:txBody>
      </p:sp>
      <p:sp>
        <p:nvSpPr>
          <p:cNvPr id="6" name="Foliennummer"/>
          <p:cNvSpPr>
            <a:spLocks noGrp="1"/>
          </p:cNvSpPr>
          <p:nvPr>
            <p:ph type="sldNum" sz="quarter" idx="4"/>
          </p:nvPr>
        </p:nvSpPr>
        <p:spPr bwMode="gray">
          <a:xfrm>
            <a:off x="11181600" y="6277176"/>
            <a:ext cx="468000" cy="216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lang="de-DE" sz="1200" b="1" kern="1200" smtClean="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1pPr>
          </a:lstStyle>
          <a:p>
            <a:fld id="{02CEFE82-39F2-4F47-8A0C-D5AB3496FA5C}" type="slidenum">
              <a:rPr lang="de-DE" smtClean="0"/>
              <a:pPr/>
              <a:t>‹Nr.›</a:t>
            </a:fld>
            <a:endParaRPr lang="de-DE"/>
          </a:p>
        </p:txBody>
      </p:sp>
      <p:grpSp>
        <p:nvGrpSpPr>
          <p:cNvPr id="28" name="Gruppieren 27">
            <a:extLst>
              <a:ext uri="{FF2B5EF4-FFF2-40B4-BE49-F238E27FC236}">
                <a16:creationId xmlns:a16="http://schemas.microsoft.com/office/drawing/2014/main" id="{DB875A71-D571-4BF9-944F-63A78C9A7736}"/>
              </a:ext>
            </a:extLst>
          </p:cNvPr>
          <p:cNvGrpSpPr>
            <a:grpSpLocks noChangeAspect="1"/>
          </p:cNvGrpSpPr>
          <p:nvPr userDrawn="1"/>
        </p:nvGrpSpPr>
        <p:grpSpPr bwMode="gray">
          <a:xfrm>
            <a:off x="-2647" y="533519"/>
            <a:ext cx="378910" cy="296159"/>
            <a:chOff x="1009650" y="6149976"/>
            <a:chExt cx="552451" cy="431800"/>
          </a:xfrm>
          <a:solidFill>
            <a:schemeClr val="accent1"/>
          </a:solidFill>
        </p:grpSpPr>
        <p:sp>
          <p:nvSpPr>
            <p:cNvPr id="29" name="Rectangle 5">
              <a:extLst>
                <a:ext uri="{FF2B5EF4-FFF2-40B4-BE49-F238E27FC236}">
                  <a16:creationId xmlns:a16="http://schemas.microsoft.com/office/drawing/2014/main" id="{177AE721-3A80-4984-A2E9-B0A5D3351E11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1501775" y="6149976"/>
              <a:ext cx="60325" cy="603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0" name="Rectangle 6">
              <a:extLst>
                <a:ext uri="{FF2B5EF4-FFF2-40B4-BE49-F238E27FC236}">
                  <a16:creationId xmlns:a16="http://schemas.microsoft.com/office/drawing/2014/main" id="{DAC459F1-C854-404C-8F3D-6B8C4E85EFF1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1255713" y="6149976"/>
              <a:ext cx="60325" cy="603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1" name="Freeform 7">
              <a:extLst>
                <a:ext uri="{FF2B5EF4-FFF2-40B4-BE49-F238E27FC236}">
                  <a16:creationId xmlns:a16="http://schemas.microsoft.com/office/drawing/2014/main" id="{C056C197-5F0C-4D9A-949F-C3B8BC4ED285}"/>
                </a:ext>
              </a:extLst>
            </p:cNvPr>
            <p:cNvSpPr>
              <a:spLocks noEditPoints="1"/>
            </p:cNvSpPr>
            <p:nvPr userDrawn="1"/>
          </p:nvSpPr>
          <p:spPr bwMode="gray">
            <a:xfrm>
              <a:off x="1009650" y="6149976"/>
              <a:ext cx="430213" cy="431800"/>
            </a:xfrm>
            <a:custGeom>
              <a:avLst/>
              <a:gdLst>
                <a:gd name="T0" fmla="*/ 271 w 271"/>
                <a:gd name="T1" fmla="*/ 77 h 272"/>
                <a:gd name="T2" fmla="*/ 271 w 271"/>
                <a:gd name="T3" fmla="*/ 38 h 272"/>
                <a:gd name="T4" fmla="*/ 193 w 271"/>
                <a:gd name="T5" fmla="*/ 38 h 272"/>
                <a:gd name="T6" fmla="*/ 193 w 271"/>
                <a:gd name="T7" fmla="*/ 77 h 272"/>
                <a:gd name="T8" fmla="*/ 155 w 271"/>
                <a:gd name="T9" fmla="*/ 77 h 272"/>
                <a:gd name="T10" fmla="*/ 155 w 271"/>
                <a:gd name="T11" fmla="*/ 38 h 272"/>
                <a:gd name="T12" fmla="*/ 116 w 271"/>
                <a:gd name="T13" fmla="*/ 38 h 272"/>
                <a:gd name="T14" fmla="*/ 116 w 271"/>
                <a:gd name="T15" fmla="*/ 0 h 272"/>
                <a:gd name="T16" fmla="*/ 0 w 271"/>
                <a:gd name="T17" fmla="*/ 0 h 272"/>
                <a:gd name="T18" fmla="*/ 0 w 271"/>
                <a:gd name="T19" fmla="*/ 38 h 272"/>
                <a:gd name="T20" fmla="*/ 38 w 271"/>
                <a:gd name="T21" fmla="*/ 38 h 272"/>
                <a:gd name="T22" fmla="*/ 38 w 271"/>
                <a:gd name="T23" fmla="*/ 77 h 272"/>
                <a:gd name="T24" fmla="*/ 0 w 271"/>
                <a:gd name="T25" fmla="*/ 77 h 272"/>
                <a:gd name="T26" fmla="*/ 0 w 271"/>
                <a:gd name="T27" fmla="*/ 272 h 272"/>
                <a:gd name="T28" fmla="*/ 77 w 271"/>
                <a:gd name="T29" fmla="*/ 272 h 272"/>
                <a:gd name="T30" fmla="*/ 77 w 271"/>
                <a:gd name="T31" fmla="*/ 233 h 272"/>
                <a:gd name="T32" fmla="*/ 116 w 271"/>
                <a:gd name="T33" fmla="*/ 233 h 272"/>
                <a:gd name="T34" fmla="*/ 116 w 271"/>
                <a:gd name="T35" fmla="*/ 272 h 272"/>
                <a:gd name="T36" fmla="*/ 155 w 271"/>
                <a:gd name="T37" fmla="*/ 272 h 272"/>
                <a:gd name="T38" fmla="*/ 155 w 271"/>
                <a:gd name="T39" fmla="*/ 193 h 272"/>
                <a:gd name="T40" fmla="*/ 116 w 271"/>
                <a:gd name="T41" fmla="*/ 193 h 272"/>
                <a:gd name="T42" fmla="*/ 116 w 271"/>
                <a:gd name="T43" fmla="*/ 155 h 272"/>
                <a:gd name="T44" fmla="*/ 155 w 271"/>
                <a:gd name="T45" fmla="*/ 155 h 272"/>
                <a:gd name="T46" fmla="*/ 155 w 271"/>
                <a:gd name="T47" fmla="*/ 116 h 272"/>
                <a:gd name="T48" fmla="*/ 193 w 271"/>
                <a:gd name="T49" fmla="*/ 116 h 272"/>
                <a:gd name="T50" fmla="*/ 193 w 271"/>
                <a:gd name="T51" fmla="*/ 155 h 272"/>
                <a:gd name="T52" fmla="*/ 155 w 271"/>
                <a:gd name="T53" fmla="*/ 155 h 272"/>
                <a:gd name="T54" fmla="*/ 155 w 271"/>
                <a:gd name="T55" fmla="*/ 193 h 272"/>
                <a:gd name="T56" fmla="*/ 232 w 271"/>
                <a:gd name="T57" fmla="*/ 193 h 272"/>
                <a:gd name="T58" fmla="*/ 232 w 271"/>
                <a:gd name="T59" fmla="*/ 155 h 272"/>
                <a:gd name="T60" fmla="*/ 271 w 271"/>
                <a:gd name="T61" fmla="*/ 155 h 272"/>
                <a:gd name="T62" fmla="*/ 271 w 271"/>
                <a:gd name="T63" fmla="*/ 116 h 272"/>
                <a:gd name="T64" fmla="*/ 232 w 271"/>
                <a:gd name="T65" fmla="*/ 116 h 272"/>
                <a:gd name="T66" fmla="*/ 232 w 271"/>
                <a:gd name="T67" fmla="*/ 77 h 272"/>
                <a:gd name="T68" fmla="*/ 271 w 271"/>
                <a:gd name="T69" fmla="*/ 77 h 272"/>
                <a:gd name="T70" fmla="*/ 77 w 271"/>
                <a:gd name="T71" fmla="*/ 193 h 272"/>
                <a:gd name="T72" fmla="*/ 38 w 271"/>
                <a:gd name="T73" fmla="*/ 193 h 272"/>
                <a:gd name="T74" fmla="*/ 38 w 271"/>
                <a:gd name="T75" fmla="*/ 155 h 272"/>
                <a:gd name="T76" fmla="*/ 77 w 271"/>
                <a:gd name="T77" fmla="*/ 155 h 272"/>
                <a:gd name="T78" fmla="*/ 77 w 271"/>
                <a:gd name="T79" fmla="*/ 193 h 272"/>
                <a:gd name="T80" fmla="*/ 116 w 271"/>
                <a:gd name="T81" fmla="*/ 116 h 272"/>
                <a:gd name="T82" fmla="*/ 77 w 271"/>
                <a:gd name="T83" fmla="*/ 116 h 272"/>
                <a:gd name="T84" fmla="*/ 77 w 271"/>
                <a:gd name="T85" fmla="*/ 77 h 272"/>
                <a:gd name="T86" fmla="*/ 116 w 271"/>
                <a:gd name="T87" fmla="*/ 77 h 272"/>
                <a:gd name="T88" fmla="*/ 116 w 271"/>
                <a:gd name="T89" fmla="*/ 116 h 2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271" h="272">
                  <a:moveTo>
                    <a:pt x="271" y="77"/>
                  </a:moveTo>
                  <a:lnTo>
                    <a:pt x="271" y="38"/>
                  </a:lnTo>
                  <a:lnTo>
                    <a:pt x="193" y="38"/>
                  </a:lnTo>
                  <a:lnTo>
                    <a:pt x="193" y="77"/>
                  </a:lnTo>
                  <a:lnTo>
                    <a:pt x="155" y="77"/>
                  </a:lnTo>
                  <a:lnTo>
                    <a:pt x="155" y="38"/>
                  </a:lnTo>
                  <a:lnTo>
                    <a:pt x="116" y="38"/>
                  </a:lnTo>
                  <a:lnTo>
                    <a:pt x="116" y="0"/>
                  </a:lnTo>
                  <a:lnTo>
                    <a:pt x="0" y="0"/>
                  </a:lnTo>
                  <a:lnTo>
                    <a:pt x="0" y="38"/>
                  </a:lnTo>
                  <a:lnTo>
                    <a:pt x="38" y="38"/>
                  </a:lnTo>
                  <a:lnTo>
                    <a:pt x="38" y="77"/>
                  </a:lnTo>
                  <a:lnTo>
                    <a:pt x="0" y="77"/>
                  </a:lnTo>
                  <a:lnTo>
                    <a:pt x="0" y="272"/>
                  </a:lnTo>
                  <a:lnTo>
                    <a:pt x="77" y="272"/>
                  </a:lnTo>
                  <a:lnTo>
                    <a:pt x="77" y="233"/>
                  </a:lnTo>
                  <a:lnTo>
                    <a:pt x="116" y="233"/>
                  </a:lnTo>
                  <a:lnTo>
                    <a:pt x="116" y="272"/>
                  </a:lnTo>
                  <a:lnTo>
                    <a:pt x="155" y="272"/>
                  </a:lnTo>
                  <a:lnTo>
                    <a:pt x="155" y="193"/>
                  </a:lnTo>
                  <a:lnTo>
                    <a:pt x="116" y="193"/>
                  </a:lnTo>
                  <a:lnTo>
                    <a:pt x="116" y="155"/>
                  </a:lnTo>
                  <a:lnTo>
                    <a:pt x="155" y="155"/>
                  </a:lnTo>
                  <a:lnTo>
                    <a:pt x="155" y="116"/>
                  </a:lnTo>
                  <a:lnTo>
                    <a:pt x="193" y="116"/>
                  </a:lnTo>
                  <a:lnTo>
                    <a:pt x="193" y="155"/>
                  </a:lnTo>
                  <a:lnTo>
                    <a:pt x="155" y="155"/>
                  </a:lnTo>
                  <a:lnTo>
                    <a:pt x="155" y="193"/>
                  </a:lnTo>
                  <a:lnTo>
                    <a:pt x="232" y="193"/>
                  </a:lnTo>
                  <a:lnTo>
                    <a:pt x="232" y="155"/>
                  </a:lnTo>
                  <a:lnTo>
                    <a:pt x="271" y="155"/>
                  </a:lnTo>
                  <a:lnTo>
                    <a:pt x="271" y="116"/>
                  </a:lnTo>
                  <a:lnTo>
                    <a:pt x="232" y="116"/>
                  </a:lnTo>
                  <a:lnTo>
                    <a:pt x="232" y="77"/>
                  </a:lnTo>
                  <a:lnTo>
                    <a:pt x="271" y="77"/>
                  </a:lnTo>
                  <a:close/>
                  <a:moveTo>
                    <a:pt x="77" y="193"/>
                  </a:moveTo>
                  <a:lnTo>
                    <a:pt x="38" y="193"/>
                  </a:lnTo>
                  <a:lnTo>
                    <a:pt x="38" y="155"/>
                  </a:lnTo>
                  <a:lnTo>
                    <a:pt x="77" y="155"/>
                  </a:lnTo>
                  <a:lnTo>
                    <a:pt x="77" y="193"/>
                  </a:lnTo>
                  <a:close/>
                  <a:moveTo>
                    <a:pt x="116" y="116"/>
                  </a:moveTo>
                  <a:lnTo>
                    <a:pt x="77" y="116"/>
                  </a:lnTo>
                  <a:lnTo>
                    <a:pt x="77" y="77"/>
                  </a:lnTo>
                  <a:lnTo>
                    <a:pt x="116" y="77"/>
                  </a:lnTo>
                  <a:lnTo>
                    <a:pt x="116" y="11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2" name="Rectangle 8">
              <a:extLst>
                <a:ext uri="{FF2B5EF4-FFF2-40B4-BE49-F238E27FC236}">
                  <a16:creationId xmlns:a16="http://schemas.microsoft.com/office/drawing/2014/main" id="{BD4A9682-42DE-478C-82EE-303CDFF44306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1439863" y="6272213"/>
              <a:ext cx="61913" cy="619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3" name="Rectangle 9">
              <a:extLst>
                <a:ext uri="{FF2B5EF4-FFF2-40B4-BE49-F238E27FC236}">
                  <a16:creationId xmlns:a16="http://schemas.microsoft.com/office/drawing/2014/main" id="{B45C175C-1A49-4600-BECD-FA73DB96ADC1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1501775" y="6334126"/>
              <a:ext cx="60325" cy="619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4" name="Freeform 10">
              <a:extLst>
                <a:ext uri="{FF2B5EF4-FFF2-40B4-BE49-F238E27FC236}">
                  <a16:creationId xmlns:a16="http://schemas.microsoft.com/office/drawing/2014/main" id="{5AC9558D-5ED1-441C-BD66-46C80A6A89A0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1439863" y="6456363"/>
              <a:ext cx="122238" cy="125413"/>
            </a:xfrm>
            <a:custGeom>
              <a:avLst/>
              <a:gdLst>
                <a:gd name="T0" fmla="*/ 39 w 77"/>
                <a:gd name="T1" fmla="*/ 0 h 79"/>
                <a:gd name="T2" fmla="*/ 0 w 77"/>
                <a:gd name="T3" fmla="*/ 0 h 79"/>
                <a:gd name="T4" fmla="*/ 0 w 77"/>
                <a:gd name="T5" fmla="*/ 40 h 79"/>
                <a:gd name="T6" fmla="*/ 39 w 77"/>
                <a:gd name="T7" fmla="*/ 40 h 79"/>
                <a:gd name="T8" fmla="*/ 39 w 77"/>
                <a:gd name="T9" fmla="*/ 79 h 79"/>
                <a:gd name="T10" fmla="*/ 77 w 77"/>
                <a:gd name="T11" fmla="*/ 79 h 79"/>
                <a:gd name="T12" fmla="*/ 77 w 77"/>
                <a:gd name="T13" fmla="*/ 40 h 79"/>
                <a:gd name="T14" fmla="*/ 39 w 77"/>
                <a:gd name="T15" fmla="*/ 40 h 79"/>
                <a:gd name="T16" fmla="*/ 39 w 77"/>
                <a:gd name="T17" fmla="*/ 0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7" h="79">
                  <a:moveTo>
                    <a:pt x="39" y="0"/>
                  </a:moveTo>
                  <a:lnTo>
                    <a:pt x="0" y="0"/>
                  </a:lnTo>
                  <a:lnTo>
                    <a:pt x="0" y="40"/>
                  </a:lnTo>
                  <a:lnTo>
                    <a:pt x="39" y="40"/>
                  </a:lnTo>
                  <a:lnTo>
                    <a:pt x="39" y="79"/>
                  </a:lnTo>
                  <a:lnTo>
                    <a:pt x="77" y="79"/>
                  </a:lnTo>
                  <a:lnTo>
                    <a:pt x="77" y="40"/>
                  </a:lnTo>
                  <a:lnTo>
                    <a:pt x="39" y="40"/>
                  </a:lnTo>
                  <a:lnTo>
                    <a:pt x="39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5" name="Rectangle 11">
              <a:extLst>
                <a:ext uri="{FF2B5EF4-FFF2-40B4-BE49-F238E27FC236}">
                  <a16:creationId xmlns:a16="http://schemas.microsoft.com/office/drawing/2014/main" id="{5937B19F-128C-417F-A628-1C6272216E87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1316038" y="6519863"/>
              <a:ext cx="61913" cy="619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  <p:sp>
        <p:nvSpPr>
          <p:cNvPr id="24" name="Shape 103">
            <a:extLst>
              <a:ext uri="{FF2B5EF4-FFF2-40B4-BE49-F238E27FC236}">
                <a16:creationId xmlns:a16="http://schemas.microsoft.com/office/drawing/2014/main" id="{4A7564DC-76ED-4DEC-B706-6FCCA4F75187}"/>
              </a:ext>
            </a:extLst>
          </p:cNvPr>
          <p:cNvSpPr txBox="1"/>
          <p:nvPr userDrawn="1"/>
        </p:nvSpPr>
        <p:spPr bwMode="gray">
          <a:xfrm>
            <a:off x="540000" y="6498488"/>
            <a:ext cx="1593600" cy="21600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  <a:tabLst/>
              <a:defRPr/>
            </a:pPr>
            <a:r>
              <a:rPr lang="en-US" sz="900">
                <a:solidFill>
                  <a:schemeClr val="tx2">
                    <a:lumMod val="75000"/>
                  </a:schemeClr>
                </a:solidFill>
              </a:rPr>
              <a:t>© Copyright 2022 - m.Doc GmbH</a:t>
            </a:r>
            <a:endParaRPr lang="de-DE" sz="900">
              <a:solidFill>
                <a:schemeClr val="tx2">
                  <a:lumMod val="75000"/>
                </a:schemeClr>
              </a:solidFill>
            </a:endParaRPr>
          </a:p>
        </p:txBody>
      </p:sp>
      <p:sp>
        <p:nvSpPr>
          <p:cNvPr id="25" name="Fußzeilenplatzhalter 7">
            <a:extLst>
              <a:ext uri="{FF2B5EF4-FFF2-40B4-BE49-F238E27FC236}">
                <a16:creationId xmlns:a16="http://schemas.microsoft.com/office/drawing/2014/main" id="{6774A3BD-B616-41E7-9E34-17797A71E6C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540000" y="6277176"/>
            <a:ext cx="4633980" cy="216000"/>
          </a:xfrm>
          <a:prstGeom prst="rect">
            <a:avLst/>
          </a:prstGeom>
        </p:spPr>
        <p:txBody>
          <a:bodyPr lIns="0" tIns="0" rIns="0" bIns="0" anchor="b" anchorCtr="0"/>
          <a:lstStyle>
            <a:lvl1pPr>
              <a:defRPr sz="1000"/>
            </a:lvl1pPr>
          </a:lstStyle>
          <a:p>
            <a:r>
              <a:rPr lang="de-DE"/>
              <a:t>Smart Clinic – Auf dem Weg zum digitalen Vorreiter</a:t>
            </a:r>
          </a:p>
        </p:txBody>
      </p:sp>
      <p:sp>
        <p:nvSpPr>
          <p:cNvPr id="27" name="Datum">
            <a:extLst>
              <a:ext uri="{FF2B5EF4-FFF2-40B4-BE49-F238E27FC236}">
                <a16:creationId xmlns:a16="http://schemas.microsoft.com/office/drawing/2014/main" id="{F890B730-EF77-47A5-866C-5F6F862594D0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5375206" y="6277176"/>
            <a:ext cx="1440000" cy="216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>
              <a:defRPr sz="1000">
                <a:solidFill>
                  <a:schemeClr val="tx1"/>
                </a:solidFill>
              </a:defRPr>
            </a:lvl1pPr>
          </a:lstStyle>
          <a:p>
            <a:endParaRPr lang="de-DE"/>
          </a:p>
        </p:txBody>
      </p:sp>
      <p:grpSp>
        <p:nvGrpSpPr>
          <p:cNvPr id="17" name="Gruppieren 16">
            <a:extLst>
              <a:ext uri="{FF2B5EF4-FFF2-40B4-BE49-F238E27FC236}">
                <a16:creationId xmlns:a16="http://schemas.microsoft.com/office/drawing/2014/main" id="{241B0546-C85D-40DF-93A5-30E175102912}"/>
              </a:ext>
            </a:extLst>
          </p:cNvPr>
          <p:cNvGrpSpPr/>
          <p:nvPr userDrawn="1"/>
        </p:nvGrpSpPr>
        <p:grpSpPr bwMode="gray">
          <a:xfrm>
            <a:off x="10059991" y="523875"/>
            <a:ext cx="1589088" cy="593725"/>
            <a:chOff x="10059991" y="523875"/>
            <a:chExt cx="1589088" cy="593725"/>
          </a:xfrm>
        </p:grpSpPr>
        <p:pic>
          <p:nvPicPr>
            <p:cNvPr id="18" name="Grafik 17">
              <a:extLst>
                <a:ext uri="{FF2B5EF4-FFF2-40B4-BE49-F238E27FC236}">
                  <a16:creationId xmlns:a16="http://schemas.microsoft.com/office/drawing/2014/main" id="{B852F357-19DC-46CA-87C9-733F41E821B6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9"/>
            <a:srcRect b="11159"/>
            <a:stretch/>
          </p:blipFill>
          <p:spPr bwMode="gray">
            <a:xfrm>
              <a:off x="10521315" y="859154"/>
              <a:ext cx="59055" cy="60961"/>
            </a:xfrm>
            <a:prstGeom prst="rect">
              <a:avLst/>
            </a:prstGeom>
          </p:spPr>
        </p:pic>
        <p:grpSp>
          <p:nvGrpSpPr>
            <p:cNvPr id="19" name="Group 4">
              <a:extLst>
                <a:ext uri="{FF2B5EF4-FFF2-40B4-BE49-F238E27FC236}">
                  <a16:creationId xmlns:a16="http://schemas.microsoft.com/office/drawing/2014/main" id="{773CE13B-A03D-4A38-B7F9-5A7418899850}"/>
                </a:ext>
              </a:extLst>
            </p:cNvPr>
            <p:cNvGrpSpPr>
              <a:grpSpLocks noChangeAspect="1"/>
            </p:cNvGrpSpPr>
            <p:nvPr userDrawn="1"/>
          </p:nvGrpSpPr>
          <p:grpSpPr bwMode="gray">
            <a:xfrm>
              <a:off x="10059991" y="523875"/>
              <a:ext cx="1589088" cy="593725"/>
              <a:chOff x="6337" y="330"/>
              <a:chExt cx="1001" cy="374"/>
            </a:xfrm>
            <a:solidFill>
              <a:schemeClr val="accent1"/>
            </a:solidFill>
          </p:grpSpPr>
          <p:sp>
            <p:nvSpPr>
              <p:cNvPr id="20" name="Freeform 5">
                <a:extLst>
                  <a:ext uri="{FF2B5EF4-FFF2-40B4-BE49-F238E27FC236}">
                    <a16:creationId xmlns:a16="http://schemas.microsoft.com/office/drawing/2014/main" id="{AFF4A159-C87E-4A03-AFBB-D9C7E610D559}"/>
                  </a:ext>
                </a:extLst>
              </p:cNvPr>
              <p:cNvSpPr>
                <a:spLocks noEditPoints="1"/>
              </p:cNvSpPr>
              <p:nvPr userDrawn="1"/>
            </p:nvSpPr>
            <p:spPr bwMode="gray">
              <a:xfrm>
                <a:off x="6340" y="388"/>
                <a:ext cx="997" cy="195"/>
              </a:xfrm>
              <a:custGeom>
                <a:avLst/>
                <a:gdLst>
                  <a:gd name="T0" fmla="*/ 236 w 1284"/>
                  <a:gd name="T1" fmla="*/ 17 h 250"/>
                  <a:gd name="T2" fmla="*/ 98 w 1284"/>
                  <a:gd name="T3" fmla="*/ 17 h 250"/>
                  <a:gd name="T4" fmla="*/ 0 w 1284"/>
                  <a:gd name="T5" fmla="*/ 116 h 250"/>
                  <a:gd name="T6" fmla="*/ 56 w 1284"/>
                  <a:gd name="T7" fmla="*/ 244 h 250"/>
                  <a:gd name="T8" fmla="*/ 68 w 1284"/>
                  <a:gd name="T9" fmla="*/ 81 h 250"/>
                  <a:gd name="T10" fmla="*/ 128 w 1284"/>
                  <a:gd name="T11" fmla="*/ 81 h 250"/>
                  <a:gd name="T12" fmla="*/ 139 w 1284"/>
                  <a:gd name="T13" fmla="*/ 116 h 250"/>
                  <a:gd name="T14" fmla="*/ 196 w 1284"/>
                  <a:gd name="T15" fmla="*/ 244 h 250"/>
                  <a:gd name="T16" fmla="*/ 195 w 1284"/>
                  <a:gd name="T17" fmla="*/ 107 h 250"/>
                  <a:gd name="T18" fmla="*/ 236 w 1284"/>
                  <a:gd name="T19" fmla="*/ 69 h 250"/>
                  <a:gd name="T20" fmla="*/ 279 w 1284"/>
                  <a:gd name="T21" fmla="*/ 112 h 250"/>
                  <a:gd name="T22" fmla="*/ 335 w 1284"/>
                  <a:gd name="T23" fmla="*/ 244 h 250"/>
                  <a:gd name="T24" fmla="*/ 307 w 1284"/>
                  <a:gd name="T25" fmla="*/ 44 h 250"/>
                  <a:gd name="T26" fmla="*/ 477 w 1284"/>
                  <a:gd name="T27" fmla="*/ 129 h 250"/>
                  <a:gd name="T28" fmla="*/ 485 w 1284"/>
                  <a:gd name="T29" fmla="*/ 120 h 250"/>
                  <a:gd name="T30" fmla="*/ 477 w 1284"/>
                  <a:gd name="T31" fmla="*/ 102 h 250"/>
                  <a:gd name="T32" fmla="*/ 486 w 1284"/>
                  <a:gd name="T33" fmla="*/ 111 h 250"/>
                  <a:gd name="T34" fmla="*/ 477 w 1284"/>
                  <a:gd name="T35" fmla="*/ 102 h 250"/>
                  <a:gd name="T36" fmla="*/ 506 w 1284"/>
                  <a:gd name="T37" fmla="*/ 103 h 250"/>
                  <a:gd name="T38" fmla="*/ 515 w 1284"/>
                  <a:gd name="T39" fmla="*/ 95 h 250"/>
                  <a:gd name="T40" fmla="*/ 455 w 1284"/>
                  <a:gd name="T41" fmla="*/ 88 h 250"/>
                  <a:gd name="T42" fmla="*/ 463 w 1284"/>
                  <a:gd name="T43" fmla="*/ 94 h 250"/>
                  <a:gd name="T44" fmla="*/ 455 w 1284"/>
                  <a:gd name="T45" fmla="*/ 88 h 250"/>
                  <a:gd name="T46" fmla="*/ 493 w 1284"/>
                  <a:gd name="T47" fmla="*/ 120 h 250"/>
                  <a:gd name="T48" fmla="*/ 501 w 1284"/>
                  <a:gd name="T49" fmla="*/ 112 h 250"/>
                  <a:gd name="T50" fmla="*/ 491 w 1284"/>
                  <a:gd name="T51" fmla="*/ 136 h 250"/>
                  <a:gd name="T52" fmla="*/ 500 w 1284"/>
                  <a:gd name="T53" fmla="*/ 144 h 250"/>
                  <a:gd name="T54" fmla="*/ 491 w 1284"/>
                  <a:gd name="T55" fmla="*/ 136 h 250"/>
                  <a:gd name="T56" fmla="*/ 892 w 1284"/>
                  <a:gd name="T57" fmla="*/ 0 h 250"/>
                  <a:gd name="T58" fmla="*/ 766 w 1284"/>
                  <a:gd name="T59" fmla="*/ 124 h 250"/>
                  <a:gd name="T60" fmla="*/ 892 w 1284"/>
                  <a:gd name="T61" fmla="*/ 249 h 250"/>
                  <a:gd name="T62" fmla="*/ 1019 w 1284"/>
                  <a:gd name="T63" fmla="*/ 124 h 250"/>
                  <a:gd name="T64" fmla="*/ 942 w 1284"/>
                  <a:gd name="T65" fmla="*/ 177 h 250"/>
                  <a:gd name="T66" fmla="*/ 842 w 1284"/>
                  <a:gd name="T67" fmla="*/ 177 h 250"/>
                  <a:gd name="T68" fmla="*/ 842 w 1284"/>
                  <a:gd name="T69" fmla="*/ 72 h 250"/>
                  <a:gd name="T70" fmla="*/ 942 w 1284"/>
                  <a:gd name="T71" fmla="*/ 72 h 250"/>
                  <a:gd name="T72" fmla="*/ 942 w 1284"/>
                  <a:gd name="T73" fmla="*/ 177 h 250"/>
                  <a:gd name="T74" fmla="*/ 1244 w 1284"/>
                  <a:gd name="T75" fmla="*/ 164 h 250"/>
                  <a:gd name="T76" fmla="*/ 1132 w 1284"/>
                  <a:gd name="T77" fmla="*/ 177 h 250"/>
                  <a:gd name="T78" fmla="*/ 1132 w 1284"/>
                  <a:gd name="T79" fmla="*/ 72 h 250"/>
                  <a:gd name="T80" fmla="*/ 1244 w 1284"/>
                  <a:gd name="T81" fmla="*/ 86 h 250"/>
                  <a:gd name="T82" fmla="*/ 1284 w 1284"/>
                  <a:gd name="T83" fmla="*/ 57 h 250"/>
                  <a:gd name="T84" fmla="*/ 1242 w 1284"/>
                  <a:gd name="T85" fmla="*/ 15 h 250"/>
                  <a:gd name="T86" fmla="*/ 1093 w 1284"/>
                  <a:gd name="T87" fmla="*/ 36 h 250"/>
                  <a:gd name="T88" fmla="*/ 1093 w 1284"/>
                  <a:gd name="T89" fmla="*/ 213 h 250"/>
                  <a:gd name="T90" fmla="*/ 1283 w 1284"/>
                  <a:gd name="T91" fmla="*/ 194 h 250"/>
                  <a:gd name="T92" fmla="*/ 1245 w 1284"/>
                  <a:gd name="T93" fmla="*/ 162 h 2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1284" h="250">
                    <a:moveTo>
                      <a:pt x="307" y="44"/>
                    </a:moveTo>
                    <a:cubicBezTo>
                      <a:pt x="287" y="25"/>
                      <a:pt x="263" y="17"/>
                      <a:pt x="236" y="17"/>
                    </a:cubicBezTo>
                    <a:cubicBezTo>
                      <a:pt x="210" y="17"/>
                      <a:pt x="187" y="25"/>
                      <a:pt x="167" y="44"/>
                    </a:cubicBezTo>
                    <a:cubicBezTo>
                      <a:pt x="148" y="25"/>
                      <a:pt x="125" y="17"/>
                      <a:pt x="98" y="17"/>
                    </a:cubicBezTo>
                    <a:cubicBezTo>
                      <a:pt x="71" y="17"/>
                      <a:pt x="48" y="25"/>
                      <a:pt x="28" y="44"/>
                    </a:cubicBezTo>
                    <a:cubicBezTo>
                      <a:pt x="8" y="63"/>
                      <a:pt x="0" y="88"/>
                      <a:pt x="0" y="116"/>
                    </a:cubicBezTo>
                    <a:cubicBezTo>
                      <a:pt x="0" y="244"/>
                      <a:pt x="0" y="244"/>
                      <a:pt x="0" y="244"/>
                    </a:cubicBezTo>
                    <a:cubicBezTo>
                      <a:pt x="56" y="244"/>
                      <a:pt x="56" y="244"/>
                      <a:pt x="56" y="244"/>
                    </a:cubicBezTo>
                    <a:cubicBezTo>
                      <a:pt x="56" y="112"/>
                      <a:pt x="56" y="112"/>
                      <a:pt x="56" y="112"/>
                    </a:cubicBezTo>
                    <a:cubicBezTo>
                      <a:pt x="56" y="100"/>
                      <a:pt x="59" y="89"/>
                      <a:pt x="68" y="81"/>
                    </a:cubicBezTo>
                    <a:cubicBezTo>
                      <a:pt x="76" y="73"/>
                      <a:pt x="87" y="69"/>
                      <a:pt x="98" y="69"/>
                    </a:cubicBezTo>
                    <a:cubicBezTo>
                      <a:pt x="110" y="69"/>
                      <a:pt x="120" y="73"/>
                      <a:pt x="128" y="81"/>
                    </a:cubicBezTo>
                    <a:cubicBezTo>
                      <a:pt x="135" y="88"/>
                      <a:pt x="139" y="97"/>
                      <a:pt x="140" y="107"/>
                    </a:cubicBezTo>
                    <a:cubicBezTo>
                      <a:pt x="140" y="110"/>
                      <a:pt x="139" y="113"/>
                      <a:pt x="139" y="116"/>
                    </a:cubicBezTo>
                    <a:cubicBezTo>
                      <a:pt x="139" y="244"/>
                      <a:pt x="139" y="244"/>
                      <a:pt x="139" y="244"/>
                    </a:cubicBezTo>
                    <a:cubicBezTo>
                      <a:pt x="196" y="244"/>
                      <a:pt x="196" y="244"/>
                      <a:pt x="196" y="244"/>
                    </a:cubicBezTo>
                    <a:cubicBezTo>
                      <a:pt x="196" y="116"/>
                      <a:pt x="196" y="116"/>
                      <a:pt x="196" y="116"/>
                    </a:cubicBezTo>
                    <a:cubicBezTo>
                      <a:pt x="196" y="113"/>
                      <a:pt x="195" y="110"/>
                      <a:pt x="195" y="107"/>
                    </a:cubicBezTo>
                    <a:cubicBezTo>
                      <a:pt x="195" y="97"/>
                      <a:pt x="200" y="88"/>
                      <a:pt x="207" y="81"/>
                    </a:cubicBezTo>
                    <a:cubicBezTo>
                      <a:pt x="215" y="73"/>
                      <a:pt x="225" y="69"/>
                      <a:pt x="236" y="69"/>
                    </a:cubicBezTo>
                    <a:cubicBezTo>
                      <a:pt x="248" y="69"/>
                      <a:pt x="259" y="73"/>
                      <a:pt x="267" y="81"/>
                    </a:cubicBezTo>
                    <a:cubicBezTo>
                      <a:pt x="276" y="89"/>
                      <a:pt x="279" y="100"/>
                      <a:pt x="279" y="112"/>
                    </a:cubicBezTo>
                    <a:cubicBezTo>
                      <a:pt x="279" y="244"/>
                      <a:pt x="279" y="244"/>
                      <a:pt x="279" y="244"/>
                    </a:cubicBezTo>
                    <a:cubicBezTo>
                      <a:pt x="335" y="244"/>
                      <a:pt x="335" y="244"/>
                      <a:pt x="335" y="244"/>
                    </a:cubicBezTo>
                    <a:cubicBezTo>
                      <a:pt x="335" y="117"/>
                      <a:pt x="335" y="117"/>
                      <a:pt x="335" y="117"/>
                    </a:cubicBezTo>
                    <a:cubicBezTo>
                      <a:pt x="335" y="90"/>
                      <a:pt x="327" y="63"/>
                      <a:pt x="307" y="44"/>
                    </a:cubicBezTo>
                    <a:close/>
                    <a:moveTo>
                      <a:pt x="477" y="120"/>
                    </a:moveTo>
                    <a:cubicBezTo>
                      <a:pt x="477" y="129"/>
                      <a:pt x="477" y="129"/>
                      <a:pt x="477" y="129"/>
                    </a:cubicBezTo>
                    <a:cubicBezTo>
                      <a:pt x="485" y="129"/>
                      <a:pt x="485" y="129"/>
                      <a:pt x="485" y="129"/>
                    </a:cubicBezTo>
                    <a:cubicBezTo>
                      <a:pt x="485" y="120"/>
                      <a:pt x="485" y="120"/>
                      <a:pt x="485" y="120"/>
                    </a:cubicBezTo>
                    <a:lnTo>
                      <a:pt x="477" y="120"/>
                    </a:lnTo>
                    <a:close/>
                    <a:moveTo>
                      <a:pt x="477" y="102"/>
                    </a:moveTo>
                    <a:cubicBezTo>
                      <a:pt x="477" y="111"/>
                      <a:pt x="477" y="111"/>
                      <a:pt x="477" y="111"/>
                    </a:cubicBezTo>
                    <a:cubicBezTo>
                      <a:pt x="486" y="111"/>
                      <a:pt x="486" y="111"/>
                      <a:pt x="486" y="111"/>
                    </a:cubicBezTo>
                    <a:cubicBezTo>
                      <a:pt x="486" y="102"/>
                      <a:pt x="486" y="102"/>
                      <a:pt x="486" y="102"/>
                    </a:cubicBezTo>
                    <a:lnTo>
                      <a:pt x="477" y="102"/>
                    </a:lnTo>
                    <a:close/>
                    <a:moveTo>
                      <a:pt x="506" y="95"/>
                    </a:moveTo>
                    <a:cubicBezTo>
                      <a:pt x="506" y="103"/>
                      <a:pt x="506" y="103"/>
                      <a:pt x="506" y="103"/>
                    </a:cubicBezTo>
                    <a:cubicBezTo>
                      <a:pt x="515" y="103"/>
                      <a:pt x="515" y="103"/>
                      <a:pt x="515" y="103"/>
                    </a:cubicBezTo>
                    <a:cubicBezTo>
                      <a:pt x="515" y="95"/>
                      <a:pt x="515" y="95"/>
                      <a:pt x="515" y="95"/>
                    </a:cubicBezTo>
                    <a:lnTo>
                      <a:pt x="506" y="95"/>
                    </a:lnTo>
                    <a:close/>
                    <a:moveTo>
                      <a:pt x="455" y="88"/>
                    </a:moveTo>
                    <a:cubicBezTo>
                      <a:pt x="455" y="94"/>
                      <a:pt x="455" y="94"/>
                      <a:pt x="455" y="94"/>
                    </a:cubicBezTo>
                    <a:cubicBezTo>
                      <a:pt x="463" y="94"/>
                      <a:pt x="463" y="94"/>
                      <a:pt x="463" y="94"/>
                    </a:cubicBezTo>
                    <a:cubicBezTo>
                      <a:pt x="463" y="88"/>
                      <a:pt x="463" y="88"/>
                      <a:pt x="463" y="88"/>
                    </a:cubicBezTo>
                    <a:lnTo>
                      <a:pt x="455" y="88"/>
                    </a:lnTo>
                    <a:close/>
                    <a:moveTo>
                      <a:pt x="493" y="112"/>
                    </a:moveTo>
                    <a:cubicBezTo>
                      <a:pt x="493" y="120"/>
                      <a:pt x="493" y="120"/>
                      <a:pt x="493" y="120"/>
                    </a:cubicBezTo>
                    <a:cubicBezTo>
                      <a:pt x="501" y="120"/>
                      <a:pt x="501" y="120"/>
                      <a:pt x="501" y="120"/>
                    </a:cubicBezTo>
                    <a:cubicBezTo>
                      <a:pt x="501" y="112"/>
                      <a:pt x="501" y="112"/>
                      <a:pt x="501" y="112"/>
                    </a:cubicBezTo>
                    <a:lnTo>
                      <a:pt x="493" y="112"/>
                    </a:lnTo>
                    <a:close/>
                    <a:moveTo>
                      <a:pt x="491" y="136"/>
                    </a:moveTo>
                    <a:cubicBezTo>
                      <a:pt x="491" y="144"/>
                      <a:pt x="491" y="144"/>
                      <a:pt x="491" y="144"/>
                    </a:cubicBezTo>
                    <a:cubicBezTo>
                      <a:pt x="500" y="144"/>
                      <a:pt x="500" y="144"/>
                      <a:pt x="500" y="144"/>
                    </a:cubicBezTo>
                    <a:cubicBezTo>
                      <a:pt x="500" y="136"/>
                      <a:pt x="500" y="136"/>
                      <a:pt x="500" y="136"/>
                    </a:cubicBezTo>
                    <a:lnTo>
                      <a:pt x="491" y="136"/>
                    </a:lnTo>
                    <a:close/>
                    <a:moveTo>
                      <a:pt x="982" y="36"/>
                    </a:moveTo>
                    <a:cubicBezTo>
                      <a:pt x="957" y="12"/>
                      <a:pt x="927" y="0"/>
                      <a:pt x="892" y="0"/>
                    </a:cubicBezTo>
                    <a:cubicBezTo>
                      <a:pt x="857" y="0"/>
                      <a:pt x="827" y="12"/>
                      <a:pt x="802" y="36"/>
                    </a:cubicBezTo>
                    <a:cubicBezTo>
                      <a:pt x="778" y="60"/>
                      <a:pt x="766" y="90"/>
                      <a:pt x="766" y="124"/>
                    </a:cubicBezTo>
                    <a:cubicBezTo>
                      <a:pt x="766" y="159"/>
                      <a:pt x="778" y="189"/>
                      <a:pt x="802" y="213"/>
                    </a:cubicBezTo>
                    <a:cubicBezTo>
                      <a:pt x="827" y="237"/>
                      <a:pt x="857" y="249"/>
                      <a:pt x="892" y="249"/>
                    </a:cubicBezTo>
                    <a:cubicBezTo>
                      <a:pt x="927" y="250"/>
                      <a:pt x="957" y="237"/>
                      <a:pt x="982" y="213"/>
                    </a:cubicBezTo>
                    <a:cubicBezTo>
                      <a:pt x="1006" y="189"/>
                      <a:pt x="1019" y="159"/>
                      <a:pt x="1019" y="124"/>
                    </a:cubicBezTo>
                    <a:cubicBezTo>
                      <a:pt x="1019" y="90"/>
                      <a:pt x="1006" y="60"/>
                      <a:pt x="982" y="36"/>
                    </a:cubicBezTo>
                    <a:close/>
                    <a:moveTo>
                      <a:pt x="942" y="177"/>
                    </a:moveTo>
                    <a:cubicBezTo>
                      <a:pt x="928" y="191"/>
                      <a:pt x="912" y="198"/>
                      <a:pt x="892" y="198"/>
                    </a:cubicBezTo>
                    <a:cubicBezTo>
                      <a:pt x="872" y="198"/>
                      <a:pt x="855" y="192"/>
                      <a:pt x="842" y="177"/>
                    </a:cubicBezTo>
                    <a:cubicBezTo>
                      <a:pt x="828" y="163"/>
                      <a:pt x="822" y="145"/>
                      <a:pt x="822" y="125"/>
                    </a:cubicBezTo>
                    <a:cubicBezTo>
                      <a:pt x="822" y="105"/>
                      <a:pt x="828" y="87"/>
                      <a:pt x="842" y="72"/>
                    </a:cubicBezTo>
                    <a:cubicBezTo>
                      <a:pt x="856" y="58"/>
                      <a:pt x="873" y="51"/>
                      <a:pt x="892" y="51"/>
                    </a:cubicBezTo>
                    <a:cubicBezTo>
                      <a:pt x="912" y="51"/>
                      <a:pt x="929" y="58"/>
                      <a:pt x="942" y="72"/>
                    </a:cubicBezTo>
                    <a:cubicBezTo>
                      <a:pt x="956" y="87"/>
                      <a:pt x="962" y="105"/>
                      <a:pt x="962" y="125"/>
                    </a:cubicBezTo>
                    <a:cubicBezTo>
                      <a:pt x="962" y="145"/>
                      <a:pt x="956" y="163"/>
                      <a:pt x="942" y="177"/>
                    </a:cubicBezTo>
                    <a:close/>
                    <a:moveTo>
                      <a:pt x="1245" y="162"/>
                    </a:moveTo>
                    <a:cubicBezTo>
                      <a:pt x="1244" y="164"/>
                      <a:pt x="1244" y="164"/>
                      <a:pt x="1244" y="164"/>
                    </a:cubicBezTo>
                    <a:cubicBezTo>
                      <a:pt x="1229" y="185"/>
                      <a:pt x="1209" y="198"/>
                      <a:pt x="1183" y="198"/>
                    </a:cubicBezTo>
                    <a:cubicBezTo>
                      <a:pt x="1163" y="198"/>
                      <a:pt x="1146" y="192"/>
                      <a:pt x="1132" y="177"/>
                    </a:cubicBezTo>
                    <a:cubicBezTo>
                      <a:pt x="1118" y="163"/>
                      <a:pt x="1112" y="145"/>
                      <a:pt x="1112" y="124"/>
                    </a:cubicBezTo>
                    <a:cubicBezTo>
                      <a:pt x="1112" y="105"/>
                      <a:pt x="1118" y="87"/>
                      <a:pt x="1132" y="72"/>
                    </a:cubicBezTo>
                    <a:cubicBezTo>
                      <a:pt x="1146" y="58"/>
                      <a:pt x="1163" y="51"/>
                      <a:pt x="1183" y="51"/>
                    </a:cubicBezTo>
                    <a:cubicBezTo>
                      <a:pt x="1209" y="51"/>
                      <a:pt x="1229" y="65"/>
                      <a:pt x="1244" y="86"/>
                    </a:cubicBezTo>
                    <a:cubicBezTo>
                      <a:pt x="1245" y="88"/>
                      <a:pt x="1245" y="88"/>
                      <a:pt x="1245" y="88"/>
                    </a:cubicBezTo>
                    <a:cubicBezTo>
                      <a:pt x="1284" y="57"/>
                      <a:pt x="1284" y="57"/>
                      <a:pt x="1284" y="57"/>
                    </a:cubicBezTo>
                    <a:cubicBezTo>
                      <a:pt x="1283" y="56"/>
                      <a:pt x="1283" y="56"/>
                      <a:pt x="1283" y="56"/>
                    </a:cubicBezTo>
                    <a:cubicBezTo>
                      <a:pt x="1273" y="38"/>
                      <a:pt x="1259" y="25"/>
                      <a:pt x="1242" y="15"/>
                    </a:cubicBezTo>
                    <a:cubicBezTo>
                      <a:pt x="1223" y="4"/>
                      <a:pt x="1203" y="0"/>
                      <a:pt x="1182" y="0"/>
                    </a:cubicBezTo>
                    <a:cubicBezTo>
                      <a:pt x="1148" y="0"/>
                      <a:pt x="1118" y="12"/>
                      <a:pt x="1093" y="36"/>
                    </a:cubicBezTo>
                    <a:cubicBezTo>
                      <a:pt x="1068" y="60"/>
                      <a:pt x="1056" y="90"/>
                      <a:pt x="1056" y="124"/>
                    </a:cubicBezTo>
                    <a:cubicBezTo>
                      <a:pt x="1056" y="159"/>
                      <a:pt x="1068" y="189"/>
                      <a:pt x="1093" y="213"/>
                    </a:cubicBezTo>
                    <a:cubicBezTo>
                      <a:pt x="1118" y="238"/>
                      <a:pt x="1148" y="249"/>
                      <a:pt x="1182" y="249"/>
                    </a:cubicBezTo>
                    <a:cubicBezTo>
                      <a:pt x="1226" y="249"/>
                      <a:pt x="1260" y="231"/>
                      <a:pt x="1283" y="194"/>
                    </a:cubicBezTo>
                    <a:cubicBezTo>
                      <a:pt x="1284" y="192"/>
                      <a:pt x="1284" y="192"/>
                      <a:pt x="1284" y="192"/>
                    </a:cubicBezTo>
                    <a:lnTo>
                      <a:pt x="1245" y="16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r>
                  <a:rPr lang="de-DE"/>
                  <a:t> 	</a:t>
                </a:r>
              </a:p>
            </p:txBody>
          </p:sp>
          <p:sp>
            <p:nvSpPr>
              <p:cNvPr id="21" name="Freeform 6">
                <a:extLst>
                  <a:ext uri="{FF2B5EF4-FFF2-40B4-BE49-F238E27FC236}">
                    <a16:creationId xmlns:a16="http://schemas.microsoft.com/office/drawing/2014/main" id="{7C64253D-4F2C-4669-AFDB-8402AA6A67BF}"/>
                  </a:ext>
                </a:extLst>
              </p:cNvPr>
              <p:cNvSpPr>
                <a:spLocks noEditPoints="1"/>
              </p:cNvSpPr>
              <p:nvPr userDrawn="1"/>
            </p:nvSpPr>
            <p:spPr bwMode="gray">
              <a:xfrm>
                <a:off x="6693" y="330"/>
                <a:ext cx="213" cy="249"/>
              </a:xfrm>
              <a:custGeom>
                <a:avLst/>
                <a:gdLst>
                  <a:gd name="T0" fmla="*/ 227 w 274"/>
                  <a:gd name="T1" fmla="*/ 44 h 319"/>
                  <a:gd name="T2" fmla="*/ 101 w 274"/>
                  <a:gd name="T3" fmla="*/ 0 h 319"/>
                  <a:gd name="T4" fmla="*/ 0 w 274"/>
                  <a:gd name="T5" fmla="*/ 0 h 319"/>
                  <a:gd name="T6" fmla="*/ 0 w 274"/>
                  <a:gd name="T7" fmla="*/ 138 h 319"/>
                  <a:gd name="T8" fmla="*/ 7 w 274"/>
                  <a:gd name="T9" fmla="*/ 138 h 319"/>
                  <a:gd name="T10" fmla="*/ 7 w 274"/>
                  <a:gd name="T11" fmla="*/ 146 h 319"/>
                  <a:gd name="T12" fmla="*/ 0 w 274"/>
                  <a:gd name="T13" fmla="*/ 146 h 319"/>
                  <a:gd name="T14" fmla="*/ 0 w 274"/>
                  <a:gd name="T15" fmla="*/ 154 h 319"/>
                  <a:gd name="T16" fmla="*/ 8 w 274"/>
                  <a:gd name="T17" fmla="*/ 154 h 319"/>
                  <a:gd name="T18" fmla="*/ 8 w 274"/>
                  <a:gd name="T19" fmla="*/ 162 h 319"/>
                  <a:gd name="T20" fmla="*/ 17 w 274"/>
                  <a:gd name="T21" fmla="*/ 162 h 319"/>
                  <a:gd name="T22" fmla="*/ 17 w 274"/>
                  <a:gd name="T23" fmla="*/ 169 h 319"/>
                  <a:gd name="T24" fmla="*/ 24 w 274"/>
                  <a:gd name="T25" fmla="*/ 169 h 319"/>
                  <a:gd name="T26" fmla="*/ 24 w 274"/>
                  <a:gd name="T27" fmla="*/ 163 h 319"/>
                  <a:gd name="T28" fmla="*/ 33 w 274"/>
                  <a:gd name="T29" fmla="*/ 163 h 319"/>
                  <a:gd name="T30" fmla="*/ 33 w 274"/>
                  <a:gd name="T31" fmla="*/ 177 h 319"/>
                  <a:gd name="T32" fmla="*/ 41 w 274"/>
                  <a:gd name="T33" fmla="*/ 177 h 319"/>
                  <a:gd name="T34" fmla="*/ 41 w 274"/>
                  <a:gd name="T35" fmla="*/ 169 h 319"/>
                  <a:gd name="T36" fmla="*/ 52 w 274"/>
                  <a:gd name="T37" fmla="*/ 169 h 319"/>
                  <a:gd name="T38" fmla="*/ 52 w 274"/>
                  <a:gd name="T39" fmla="*/ 162 h 319"/>
                  <a:gd name="T40" fmla="*/ 58 w 274"/>
                  <a:gd name="T41" fmla="*/ 162 h 319"/>
                  <a:gd name="T42" fmla="*/ 58 w 274"/>
                  <a:gd name="T43" fmla="*/ 126 h 319"/>
                  <a:gd name="T44" fmla="*/ 52 w 274"/>
                  <a:gd name="T45" fmla="*/ 126 h 319"/>
                  <a:gd name="T46" fmla="*/ 52 w 274"/>
                  <a:gd name="T47" fmla="*/ 118 h 319"/>
                  <a:gd name="T48" fmla="*/ 58 w 274"/>
                  <a:gd name="T49" fmla="*/ 118 h 319"/>
                  <a:gd name="T50" fmla="*/ 58 w 274"/>
                  <a:gd name="T51" fmla="*/ 108 h 319"/>
                  <a:gd name="T52" fmla="*/ 54 w 274"/>
                  <a:gd name="T53" fmla="*/ 108 h 319"/>
                  <a:gd name="T54" fmla="*/ 54 w 274"/>
                  <a:gd name="T55" fmla="*/ 98 h 319"/>
                  <a:gd name="T56" fmla="*/ 58 w 274"/>
                  <a:gd name="T57" fmla="*/ 98 h 319"/>
                  <a:gd name="T58" fmla="*/ 58 w 274"/>
                  <a:gd name="T59" fmla="*/ 51 h 319"/>
                  <a:gd name="T60" fmla="*/ 100 w 274"/>
                  <a:gd name="T61" fmla="*/ 51 h 319"/>
                  <a:gd name="T62" fmla="*/ 186 w 274"/>
                  <a:gd name="T63" fmla="*/ 80 h 319"/>
                  <a:gd name="T64" fmla="*/ 217 w 274"/>
                  <a:gd name="T65" fmla="*/ 159 h 319"/>
                  <a:gd name="T66" fmla="*/ 186 w 274"/>
                  <a:gd name="T67" fmla="*/ 238 h 319"/>
                  <a:gd name="T68" fmla="*/ 100 w 274"/>
                  <a:gd name="T69" fmla="*/ 269 h 319"/>
                  <a:gd name="T70" fmla="*/ 0 w 274"/>
                  <a:gd name="T71" fmla="*/ 270 h 319"/>
                  <a:gd name="T72" fmla="*/ 0 w 274"/>
                  <a:gd name="T73" fmla="*/ 319 h 319"/>
                  <a:gd name="T74" fmla="*/ 101 w 274"/>
                  <a:gd name="T75" fmla="*/ 319 h 319"/>
                  <a:gd name="T76" fmla="*/ 226 w 274"/>
                  <a:gd name="T77" fmla="*/ 274 h 319"/>
                  <a:gd name="T78" fmla="*/ 274 w 274"/>
                  <a:gd name="T79" fmla="*/ 159 h 319"/>
                  <a:gd name="T80" fmla="*/ 227 w 274"/>
                  <a:gd name="T81" fmla="*/ 44 h 319"/>
                  <a:gd name="T82" fmla="*/ 39 w 274"/>
                  <a:gd name="T83" fmla="*/ 140 h 319"/>
                  <a:gd name="T84" fmla="*/ 31 w 274"/>
                  <a:gd name="T85" fmla="*/ 140 h 319"/>
                  <a:gd name="T86" fmla="*/ 31 w 274"/>
                  <a:gd name="T87" fmla="*/ 148 h 319"/>
                  <a:gd name="T88" fmla="*/ 23 w 274"/>
                  <a:gd name="T89" fmla="*/ 148 h 319"/>
                  <a:gd name="T90" fmla="*/ 23 w 274"/>
                  <a:gd name="T91" fmla="*/ 140 h 319"/>
                  <a:gd name="T92" fmla="*/ 31 w 274"/>
                  <a:gd name="T93" fmla="*/ 140 h 319"/>
                  <a:gd name="T94" fmla="*/ 31 w 274"/>
                  <a:gd name="T95" fmla="*/ 132 h 319"/>
                  <a:gd name="T96" fmla="*/ 23 w 274"/>
                  <a:gd name="T97" fmla="*/ 132 h 319"/>
                  <a:gd name="T98" fmla="*/ 23 w 274"/>
                  <a:gd name="T99" fmla="*/ 124 h 319"/>
                  <a:gd name="T100" fmla="*/ 31 w 274"/>
                  <a:gd name="T101" fmla="*/ 124 h 319"/>
                  <a:gd name="T102" fmla="*/ 31 w 274"/>
                  <a:gd name="T103" fmla="*/ 132 h 319"/>
                  <a:gd name="T104" fmla="*/ 39 w 274"/>
                  <a:gd name="T105" fmla="*/ 132 h 319"/>
                  <a:gd name="T106" fmla="*/ 39 w 274"/>
                  <a:gd name="T107" fmla="*/ 140 h 3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274" h="319">
                    <a:moveTo>
                      <a:pt x="227" y="44"/>
                    </a:moveTo>
                    <a:cubicBezTo>
                      <a:pt x="192" y="11"/>
                      <a:pt x="147" y="0"/>
                      <a:pt x="101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46"/>
                      <a:pt x="0" y="91"/>
                      <a:pt x="0" y="138"/>
                    </a:cubicBezTo>
                    <a:cubicBezTo>
                      <a:pt x="7" y="138"/>
                      <a:pt x="7" y="138"/>
                      <a:pt x="7" y="138"/>
                    </a:cubicBezTo>
                    <a:cubicBezTo>
                      <a:pt x="7" y="146"/>
                      <a:pt x="7" y="146"/>
                      <a:pt x="7" y="146"/>
                    </a:cubicBezTo>
                    <a:cubicBezTo>
                      <a:pt x="0" y="146"/>
                      <a:pt x="0" y="146"/>
                      <a:pt x="0" y="146"/>
                    </a:cubicBezTo>
                    <a:cubicBezTo>
                      <a:pt x="0" y="154"/>
                      <a:pt x="0" y="154"/>
                      <a:pt x="0" y="154"/>
                    </a:cubicBezTo>
                    <a:cubicBezTo>
                      <a:pt x="8" y="154"/>
                      <a:pt x="8" y="154"/>
                      <a:pt x="8" y="154"/>
                    </a:cubicBezTo>
                    <a:cubicBezTo>
                      <a:pt x="8" y="162"/>
                      <a:pt x="8" y="162"/>
                      <a:pt x="8" y="162"/>
                    </a:cubicBezTo>
                    <a:cubicBezTo>
                      <a:pt x="17" y="162"/>
                      <a:pt x="17" y="162"/>
                      <a:pt x="17" y="162"/>
                    </a:cubicBezTo>
                    <a:cubicBezTo>
                      <a:pt x="17" y="169"/>
                      <a:pt x="17" y="169"/>
                      <a:pt x="17" y="169"/>
                    </a:cubicBezTo>
                    <a:cubicBezTo>
                      <a:pt x="24" y="169"/>
                      <a:pt x="24" y="169"/>
                      <a:pt x="24" y="169"/>
                    </a:cubicBezTo>
                    <a:cubicBezTo>
                      <a:pt x="24" y="163"/>
                      <a:pt x="24" y="163"/>
                      <a:pt x="24" y="163"/>
                    </a:cubicBezTo>
                    <a:cubicBezTo>
                      <a:pt x="33" y="163"/>
                      <a:pt x="33" y="163"/>
                      <a:pt x="33" y="163"/>
                    </a:cubicBezTo>
                    <a:cubicBezTo>
                      <a:pt x="33" y="177"/>
                      <a:pt x="33" y="177"/>
                      <a:pt x="33" y="177"/>
                    </a:cubicBezTo>
                    <a:cubicBezTo>
                      <a:pt x="41" y="177"/>
                      <a:pt x="41" y="177"/>
                      <a:pt x="41" y="177"/>
                    </a:cubicBezTo>
                    <a:cubicBezTo>
                      <a:pt x="41" y="169"/>
                      <a:pt x="41" y="169"/>
                      <a:pt x="41" y="169"/>
                    </a:cubicBezTo>
                    <a:cubicBezTo>
                      <a:pt x="52" y="169"/>
                      <a:pt x="52" y="169"/>
                      <a:pt x="52" y="169"/>
                    </a:cubicBezTo>
                    <a:cubicBezTo>
                      <a:pt x="52" y="162"/>
                      <a:pt x="52" y="162"/>
                      <a:pt x="52" y="162"/>
                    </a:cubicBezTo>
                    <a:cubicBezTo>
                      <a:pt x="58" y="162"/>
                      <a:pt x="58" y="162"/>
                      <a:pt x="58" y="162"/>
                    </a:cubicBezTo>
                    <a:cubicBezTo>
                      <a:pt x="58" y="126"/>
                      <a:pt x="58" y="126"/>
                      <a:pt x="58" y="126"/>
                    </a:cubicBezTo>
                    <a:cubicBezTo>
                      <a:pt x="52" y="126"/>
                      <a:pt x="52" y="126"/>
                      <a:pt x="52" y="126"/>
                    </a:cubicBezTo>
                    <a:cubicBezTo>
                      <a:pt x="52" y="118"/>
                      <a:pt x="52" y="118"/>
                      <a:pt x="52" y="118"/>
                    </a:cubicBezTo>
                    <a:cubicBezTo>
                      <a:pt x="58" y="118"/>
                      <a:pt x="58" y="118"/>
                      <a:pt x="58" y="118"/>
                    </a:cubicBezTo>
                    <a:cubicBezTo>
                      <a:pt x="58" y="108"/>
                      <a:pt x="58" y="108"/>
                      <a:pt x="58" y="108"/>
                    </a:cubicBezTo>
                    <a:cubicBezTo>
                      <a:pt x="54" y="108"/>
                      <a:pt x="54" y="108"/>
                      <a:pt x="54" y="108"/>
                    </a:cubicBezTo>
                    <a:cubicBezTo>
                      <a:pt x="54" y="98"/>
                      <a:pt x="54" y="98"/>
                      <a:pt x="54" y="98"/>
                    </a:cubicBezTo>
                    <a:cubicBezTo>
                      <a:pt x="58" y="98"/>
                      <a:pt x="58" y="98"/>
                      <a:pt x="58" y="98"/>
                    </a:cubicBezTo>
                    <a:cubicBezTo>
                      <a:pt x="58" y="51"/>
                      <a:pt x="58" y="51"/>
                      <a:pt x="58" y="51"/>
                    </a:cubicBezTo>
                    <a:cubicBezTo>
                      <a:pt x="72" y="51"/>
                      <a:pt x="86" y="51"/>
                      <a:pt x="100" y="51"/>
                    </a:cubicBezTo>
                    <a:cubicBezTo>
                      <a:pt x="132" y="51"/>
                      <a:pt x="162" y="58"/>
                      <a:pt x="186" y="80"/>
                    </a:cubicBezTo>
                    <a:cubicBezTo>
                      <a:pt x="208" y="101"/>
                      <a:pt x="217" y="129"/>
                      <a:pt x="217" y="159"/>
                    </a:cubicBezTo>
                    <a:cubicBezTo>
                      <a:pt x="217" y="190"/>
                      <a:pt x="208" y="217"/>
                      <a:pt x="186" y="238"/>
                    </a:cubicBezTo>
                    <a:cubicBezTo>
                      <a:pt x="162" y="261"/>
                      <a:pt x="132" y="269"/>
                      <a:pt x="100" y="269"/>
                    </a:cubicBezTo>
                    <a:cubicBezTo>
                      <a:pt x="67" y="269"/>
                      <a:pt x="34" y="269"/>
                      <a:pt x="0" y="270"/>
                    </a:cubicBezTo>
                    <a:cubicBezTo>
                      <a:pt x="0" y="319"/>
                      <a:pt x="0" y="319"/>
                      <a:pt x="0" y="319"/>
                    </a:cubicBezTo>
                    <a:cubicBezTo>
                      <a:pt x="101" y="319"/>
                      <a:pt x="101" y="319"/>
                      <a:pt x="101" y="319"/>
                    </a:cubicBezTo>
                    <a:cubicBezTo>
                      <a:pt x="148" y="319"/>
                      <a:pt x="192" y="307"/>
                      <a:pt x="226" y="274"/>
                    </a:cubicBezTo>
                    <a:cubicBezTo>
                      <a:pt x="259" y="243"/>
                      <a:pt x="274" y="204"/>
                      <a:pt x="274" y="159"/>
                    </a:cubicBezTo>
                    <a:cubicBezTo>
                      <a:pt x="274" y="114"/>
                      <a:pt x="260" y="75"/>
                      <a:pt x="227" y="44"/>
                    </a:cubicBezTo>
                    <a:close/>
                    <a:moveTo>
                      <a:pt x="39" y="140"/>
                    </a:moveTo>
                    <a:cubicBezTo>
                      <a:pt x="31" y="140"/>
                      <a:pt x="31" y="140"/>
                      <a:pt x="31" y="140"/>
                    </a:cubicBezTo>
                    <a:cubicBezTo>
                      <a:pt x="31" y="148"/>
                      <a:pt x="31" y="148"/>
                      <a:pt x="31" y="148"/>
                    </a:cubicBezTo>
                    <a:cubicBezTo>
                      <a:pt x="23" y="148"/>
                      <a:pt x="23" y="148"/>
                      <a:pt x="23" y="148"/>
                    </a:cubicBezTo>
                    <a:cubicBezTo>
                      <a:pt x="23" y="140"/>
                      <a:pt x="23" y="140"/>
                      <a:pt x="23" y="140"/>
                    </a:cubicBezTo>
                    <a:cubicBezTo>
                      <a:pt x="31" y="140"/>
                      <a:pt x="31" y="140"/>
                      <a:pt x="31" y="140"/>
                    </a:cubicBezTo>
                    <a:cubicBezTo>
                      <a:pt x="31" y="132"/>
                      <a:pt x="31" y="132"/>
                      <a:pt x="31" y="132"/>
                    </a:cubicBezTo>
                    <a:cubicBezTo>
                      <a:pt x="23" y="132"/>
                      <a:pt x="23" y="132"/>
                      <a:pt x="23" y="132"/>
                    </a:cubicBezTo>
                    <a:cubicBezTo>
                      <a:pt x="23" y="124"/>
                      <a:pt x="23" y="124"/>
                      <a:pt x="23" y="124"/>
                    </a:cubicBezTo>
                    <a:cubicBezTo>
                      <a:pt x="31" y="124"/>
                      <a:pt x="31" y="124"/>
                      <a:pt x="31" y="124"/>
                    </a:cubicBezTo>
                    <a:cubicBezTo>
                      <a:pt x="31" y="132"/>
                      <a:pt x="31" y="132"/>
                      <a:pt x="31" y="132"/>
                    </a:cubicBezTo>
                    <a:cubicBezTo>
                      <a:pt x="39" y="132"/>
                      <a:pt x="39" y="132"/>
                      <a:pt x="39" y="132"/>
                    </a:cubicBezTo>
                    <a:lnTo>
                      <a:pt x="39" y="14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22" name="Freeform 7">
                <a:extLst>
                  <a:ext uri="{FF2B5EF4-FFF2-40B4-BE49-F238E27FC236}">
                    <a16:creationId xmlns:a16="http://schemas.microsoft.com/office/drawing/2014/main" id="{15D97CED-EBE5-48DC-B9F2-B82ABA39832E}"/>
                  </a:ext>
                </a:extLst>
              </p:cNvPr>
              <p:cNvSpPr>
                <a:spLocks noEditPoints="1"/>
              </p:cNvSpPr>
              <p:nvPr userDrawn="1"/>
            </p:nvSpPr>
            <p:spPr bwMode="gray">
              <a:xfrm>
                <a:off x="6337" y="633"/>
                <a:ext cx="1001" cy="71"/>
              </a:xfrm>
              <a:custGeom>
                <a:avLst/>
                <a:gdLst>
                  <a:gd name="T0" fmla="*/ 1246 w 1289"/>
                  <a:gd name="T1" fmla="*/ 35 h 91"/>
                  <a:gd name="T2" fmla="*/ 1246 w 1289"/>
                  <a:gd name="T3" fmla="*/ 57 h 91"/>
                  <a:gd name="T4" fmla="*/ 1289 w 1289"/>
                  <a:gd name="T5" fmla="*/ 90 h 91"/>
                  <a:gd name="T6" fmla="*/ 1189 w 1289"/>
                  <a:gd name="T7" fmla="*/ 83 h 91"/>
                  <a:gd name="T8" fmla="*/ 1168 w 1289"/>
                  <a:gd name="T9" fmla="*/ 34 h 91"/>
                  <a:gd name="T10" fmla="*/ 1218 w 1289"/>
                  <a:gd name="T11" fmla="*/ 58 h 91"/>
                  <a:gd name="T12" fmla="*/ 1141 w 1289"/>
                  <a:gd name="T13" fmla="*/ 5 h 91"/>
                  <a:gd name="T14" fmla="*/ 1132 w 1289"/>
                  <a:gd name="T15" fmla="*/ 27 h 91"/>
                  <a:gd name="T16" fmla="*/ 1099 w 1289"/>
                  <a:gd name="T17" fmla="*/ 34 h 91"/>
                  <a:gd name="T18" fmla="*/ 1089 w 1289"/>
                  <a:gd name="T19" fmla="*/ 26 h 91"/>
                  <a:gd name="T20" fmla="*/ 1113 w 1289"/>
                  <a:gd name="T21" fmla="*/ 91 h 91"/>
                  <a:gd name="T22" fmla="*/ 1013 w 1289"/>
                  <a:gd name="T23" fmla="*/ 27 h 91"/>
                  <a:gd name="T24" fmla="*/ 1057 w 1289"/>
                  <a:gd name="T25" fmla="*/ 81 h 91"/>
                  <a:gd name="T26" fmla="*/ 1052 w 1289"/>
                  <a:gd name="T27" fmla="*/ 78 h 91"/>
                  <a:gd name="T28" fmla="*/ 992 w 1289"/>
                  <a:gd name="T29" fmla="*/ 0 h 91"/>
                  <a:gd name="T30" fmla="*/ 935 w 1289"/>
                  <a:gd name="T31" fmla="*/ 34 h 91"/>
                  <a:gd name="T32" fmla="*/ 916 w 1289"/>
                  <a:gd name="T33" fmla="*/ 58 h 91"/>
                  <a:gd name="T34" fmla="*/ 909 w 1289"/>
                  <a:gd name="T35" fmla="*/ 76 h 91"/>
                  <a:gd name="T36" fmla="*/ 874 w 1289"/>
                  <a:gd name="T37" fmla="*/ 90 h 91"/>
                  <a:gd name="T38" fmla="*/ 862 w 1289"/>
                  <a:gd name="T39" fmla="*/ 64 h 91"/>
                  <a:gd name="T40" fmla="*/ 792 w 1289"/>
                  <a:gd name="T41" fmla="*/ 81 h 91"/>
                  <a:gd name="T42" fmla="*/ 830 w 1289"/>
                  <a:gd name="T43" fmla="*/ 14 h 91"/>
                  <a:gd name="T44" fmla="*/ 727 w 1289"/>
                  <a:gd name="T45" fmla="*/ 90 h 91"/>
                  <a:gd name="T46" fmla="*/ 684 w 1289"/>
                  <a:gd name="T47" fmla="*/ 36 h 91"/>
                  <a:gd name="T48" fmla="*/ 684 w 1289"/>
                  <a:gd name="T49" fmla="*/ 57 h 91"/>
                  <a:gd name="T50" fmla="*/ 727 w 1289"/>
                  <a:gd name="T51" fmla="*/ 90 h 91"/>
                  <a:gd name="T52" fmla="*/ 641 w 1289"/>
                  <a:gd name="T53" fmla="*/ 27 h 91"/>
                  <a:gd name="T54" fmla="*/ 632 w 1289"/>
                  <a:gd name="T55" fmla="*/ 34 h 91"/>
                  <a:gd name="T56" fmla="*/ 656 w 1289"/>
                  <a:gd name="T57" fmla="*/ 83 h 91"/>
                  <a:gd name="T58" fmla="*/ 609 w 1289"/>
                  <a:gd name="T59" fmla="*/ 90 h 91"/>
                  <a:gd name="T60" fmla="*/ 568 w 1289"/>
                  <a:gd name="T61" fmla="*/ 59 h 91"/>
                  <a:gd name="T62" fmla="*/ 578 w 1289"/>
                  <a:gd name="T63" fmla="*/ 47 h 91"/>
                  <a:gd name="T64" fmla="*/ 555 w 1289"/>
                  <a:gd name="T65" fmla="*/ 34 h 91"/>
                  <a:gd name="T66" fmla="*/ 533 w 1289"/>
                  <a:gd name="T67" fmla="*/ 86 h 91"/>
                  <a:gd name="T68" fmla="*/ 578 w 1289"/>
                  <a:gd name="T69" fmla="*/ 90 h 91"/>
                  <a:gd name="T70" fmla="*/ 500 w 1289"/>
                  <a:gd name="T71" fmla="*/ 38 h 91"/>
                  <a:gd name="T72" fmla="*/ 471 w 1289"/>
                  <a:gd name="T73" fmla="*/ 60 h 91"/>
                  <a:gd name="T74" fmla="*/ 461 w 1289"/>
                  <a:gd name="T75" fmla="*/ 59 h 91"/>
                  <a:gd name="T76" fmla="*/ 431 w 1289"/>
                  <a:gd name="T77" fmla="*/ 42 h 91"/>
                  <a:gd name="T78" fmla="*/ 387 w 1289"/>
                  <a:gd name="T79" fmla="*/ 50 h 91"/>
                  <a:gd name="T80" fmla="*/ 310 w 1289"/>
                  <a:gd name="T81" fmla="*/ 71 h 91"/>
                  <a:gd name="T82" fmla="*/ 304 w 1289"/>
                  <a:gd name="T83" fmla="*/ 12 h 91"/>
                  <a:gd name="T84" fmla="*/ 318 w 1289"/>
                  <a:gd name="T85" fmla="*/ 91 h 91"/>
                  <a:gd name="T86" fmla="*/ 312 w 1289"/>
                  <a:gd name="T87" fmla="*/ 80 h 91"/>
                  <a:gd name="T88" fmla="*/ 249 w 1289"/>
                  <a:gd name="T89" fmla="*/ 90 h 91"/>
                  <a:gd name="T90" fmla="*/ 286 w 1289"/>
                  <a:gd name="T91" fmla="*/ 26 h 91"/>
                  <a:gd name="T92" fmla="*/ 209 w 1289"/>
                  <a:gd name="T93" fmla="*/ 59 h 91"/>
                  <a:gd name="T94" fmla="*/ 228 w 1289"/>
                  <a:gd name="T95" fmla="*/ 90 h 91"/>
                  <a:gd name="T96" fmla="*/ 187 w 1289"/>
                  <a:gd name="T97" fmla="*/ 38 h 91"/>
                  <a:gd name="T98" fmla="*/ 177 w 1289"/>
                  <a:gd name="T99" fmla="*/ 72 h 91"/>
                  <a:gd name="T100" fmla="*/ 221 w 1289"/>
                  <a:gd name="T101" fmla="*/ 90 h 91"/>
                  <a:gd name="T102" fmla="*/ 127 w 1289"/>
                  <a:gd name="T103" fmla="*/ 29 h 91"/>
                  <a:gd name="T104" fmla="*/ 80 w 1289"/>
                  <a:gd name="T105" fmla="*/ 35 h 91"/>
                  <a:gd name="T106" fmla="*/ 84 w 1289"/>
                  <a:gd name="T107" fmla="*/ 39 h 91"/>
                  <a:gd name="T108" fmla="*/ 120 w 1289"/>
                  <a:gd name="T109" fmla="*/ 55 h 91"/>
                  <a:gd name="T110" fmla="*/ 161 w 1289"/>
                  <a:gd name="T111" fmla="*/ 90 h 91"/>
                  <a:gd name="T112" fmla="*/ 15 w 1289"/>
                  <a:gd name="T113" fmla="*/ 17 h 91"/>
                  <a:gd name="T114" fmla="*/ 1 w 1289"/>
                  <a:gd name="T115" fmla="*/ 26 h 91"/>
                  <a:gd name="T116" fmla="*/ 38 w 1289"/>
                  <a:gd name="T117" fmla="*/ 79 h 91"/>
                  <a:gd name="T118" fmla="*/ 45 w 1289"/>
                  <a:gd name="T119" fmla="*/ 85 h 9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1289" h="91">
                    <a:moveTo>
                      <a:pt x="1289" y="90"/>
                    </a:moveTo>
                    <a:cubicBezTo>
                      <a:pt x="1289" y="49"/>
                      <a:pt x="1289" y="49"/>
                      <a:pt x="1289" y="49"/>
                    </a:cubicBezTo>
                    <a:cubicBezTo>
                      <a:pt x="1289" y="41"/>
                      <a:pt x="1287" y="35"/>
                      <a:pt x="1283" y="31"/>
                    </a:cubicBezTo>
                    <a:cubicBezTo>
                      <a:pt x="1280" y="27"/>
                      <a:pt x="1274" y="26"/>
                      <a:pt x="1266" y="26"/>
                    </a:cubicBezTo>
                    <a:cubicBezTo>
                      <a:pt x="1262" y="26"/>
                      <a:pt x="1258" y="27"/>
                      <a:pt x="1254" y="28"/>
                    </a:cubicBezTo>
                    <a:cubicBezTo>
                      <a:pt x="1251" y="30"/>
                      <a:pt x="1248" y="32"/>
                      <a:pt x="1246" y="35"/>
                    </a:cubicBezTo>
                    <a:cubicBezTo>
                      <a:pt x="1246" y="35"/>
                      <a:pt x="1246" y="35"/>
                      <a:pt x="1246" y="35"/>
                    </a:cubicBezTo>
                    <a:cubicBezTo>
                      <a:pt x="1244" y="27"/>
                      <a:pt x="1244" y="27"/>
                      <a:pt x="1244" y="27"/>
                    </a:cubicBezTo>
                    <a:cubicBezTo>
                      <a:pt x="1236" y="27"/>
                      <a:pt x="1236" y="27"/>
                      <a:pt x="1236" y="27"/>
                    </a:cubicBezTo>
                    <a:cubicBezTo>
                      <a:pt x="1236" y="90"/>
                      <a:pt x="1236" y="90"/>
                      <a:pt x="1236" y="90"/>
                    </a:cubicBezTo>
                    <a:cubicBezTo>
                      <a:pt x="1246" y="90"/>
                      <a:pt x="1246" y="90"/>
                      <a:pt x="1246" y="90"/>
                    </a:cubicBezTo>
                    <a:cubicBezTo>
                      <a:pt x="1246" y="57"/>
                      <a:pt x="1246" y="57"/>
                      <a:pt x="1246" y="57"/>
                    </a:cubicBezTo>
                    <a:cubicBezTo>
                      <a:pt x="1246" y="49"/>
                      <a:pt x="1247" y="43"/>
                      <a:pt x="1251" y="39"/>
                    </a:cubicBezTo>
                    <a:cubicBezTo>
                      <a:pt x="1254" y="36"/>
                      <a:pt x="1258" y="34"/>
                      <a:pt x="1265" y="34"/>
                    </a:cubicBezTo>
                    <a:cubicBezTo>
                      <a:pt x="1270" y="34"/>
                      <a:pt x="1274" y="35"/>
                      <a:pt x="1276" y="38"/>
                    </a:cubicBezTo>
                    <a:cubicBezTo>
                      <a:pt x="1278" y="40"/>
                      <a:pt x="1280" y="44"/>
                      <a:pt x="1280" y="49"/>
                    </a:cubicBezTo>
                    <a:cubicBezTo>
                      <a:pt x="1280" y="90"/>
                      <a:pt x="1280" y="90"/>
                      <a:pt x="1280" y="90"/>
                    </a:cubicBezTo>
                    <a:lnTo>
                      <a:pt x="1289" y="90"/>
                    </a:lnTo>
                    <a:close/>
                    <a:moveTo>
                      <a:pt x="1174" y="40"/>
                    </a:moveTo>
                    <a:cubicBezTo>
                      <a:pt x="1178" y="36"/>
                      <a:pt x="1182" y="34"/>
                      <a:pt x="1189" y="34"/>
                    </a:cubicBezTo>
                    <a:cubicBezTo>
                      <a:pt x="1195" y="34"/>
                      <a:pt x="1200" y="36"/>
                      <a:pt x="1203" y="40"/>
                    </a:cubicBezTo>
                    <a:cubicBezTo>
                      <a:pt x="1206" y="44"/>
                      <a:pt x="1208" y="50"/>
                      <a:pt x="1208" y="58"/>
                    </a:cubicBezTo>
                    <a:cubicBezTo>
                      <a:pt x="1208" y="66"/>
                      <a:pt x="1206" y="73"/>
                      <a:pt x="1203" y="77"/>
                    </a:cubicBezTo>
                    <a:cubicBezTo>
                      <a:pt x="1200" y="81"/>
                      <a:pt x="1195" y="83"/>
                      <a:pt x="1189" y="83"/>
                    </a:cubicBezTo>
                    <a:cubicBezTo>
                      <a:pt x="1183" y="83"/>
                      <a:pt x="1178" y="81"/>
                      <a:pt x="1175" y="77"/>
                    </a:cubicBezTo>
                    <a:cubicBezTo>
                      <a:pt x="1171" y="73"/>
                      <a:pt x="1170" y="66"/>
                      <a:pt x="1170" y="58"/>
                    </a:cubicBezTo>
                    <a:cubicBezTo>
                      <a:pt x="1170" y="50"/>
                      <a:pt x="1171" y="44"/>
                      <a:pt x="1174" y="40"/>
                    </a:cubicBezTo>
                    <a:close/>
                    <a:moveTo>
                      <a:pt x="1210" y="34"/>
                    </a:moveTo>
                    <a:cubicBezTo>
                      <a:pt x="1205" y="29"/>
                      <a:pt x="1198" y="26"/>
                      <a:pt x="1189" y="26"/>
                    </a:cubicBezTo>
                    <a:cubicBezTo>
                      <a:pt x="1180" y="26"/>
                      <a:pt x="1173" y="29"/>
                      <a:pt x="1168" y="34"/>
                    </a:cubicBezTo>
                    <a:cubicBezTo>
                      <a:pt x="1162" y="40"/>
                      <a:pt x="1160" y="48"/>
                      <a:pt x="1160" y="58"/>
                    </a:cubicBezTo>
                    <a:cubicBezTo>
                      <a:pt x="1160" y="65"/>
                      <a:pt x="1161" y="71"/>
                      <a:pt x="1163" y="76"/>
                    </a:cubicBezTo>
                    <a:cubicBezTo>
                      <a:pt x="1166" y="81"/>
                      <a:pt x="1169" y="84"/>
                      <a:pt x="1174" y="87"/>
                    </a:cubicBezTo>
                    <a:cubicBezTo>
                      <a:pt x="1178" y="90"/>
                      <a:pt x="1183" y="91"/>
                      <a:pt x="1189" y="91"/>
                    </a:cubicBezTo>
                    <a:cubicBezTo>
                      <a:pt x="1198" y="91"/>
                      <a:pt x="1205" y="88"/>
                      <a:pt x="1210" y="82"/>
                    </a:cubicBezTo>
                    <a:cubicBezTo>
                      <a:pt x="1215" y="77"/>
                      <a:pt x="1218" y="69"/>
                      <a:pt x="1218" y="58"/>
                    </a:cubicBezTo>
                    <a:cubicBezTo>
                      <a:pt x="1218" y="48"/>
                      <a:pt x="1215" y="40"/>
                      <a:pt x="1210" y="34"/>
                    </a:cubicBezTo>
                    <a:close/>
                    <a:moveTo>
                      <a:pt x="1133" y="14"/>
                    </a:moveTo>
                    <a:cubicBezTo>
                      <a:pt x="1134" y="16"/>
                      <a:pt x="1135" y="16"/>
                      <a:pt x="1137" y="16"/>
                    </a:cubicBezTo>
                    <a:cubicBezTo>
                      <a:pt x="1138" y="16"/>
                      <a:pt x="1139" y="16"/>
                      <a:pt x="1141" y="14"/>
                    </a:cubicBezTo>
                    <a:cubicBezTo>
                      <a:pt x="1142" y="13"/>
                      <a:pt x="1142" y="12"/>
                      <a:pt x="1142" y="10"/>
                    </a:cubicBezTo>
                    <a:cubicBezTo>
                      <a:pt x="1142" y="8"/>
                      <a:pt x="1142" y="6"/>
                      <a:pt x="1141" y="5"/>
                    </a:cubicBezTo>
                    <a:cubicBezTo>
                      <a:pt x="1139" y="4"/>
                      <a:pt x="1138" y="3"/>
                      <a:pt x="1137" y="3"/>
                    </a:cubicBezTo>
                    <a:cubicBezTo>
                      <a:pt x="1135" y="3"/>
                      <a:pt x="1134" y="4"/>
                      <a:pt x="1133" y="5"/>
                    </a:cubicBezTo>
                    <a:cubicBezTo>
                      <a:pt x="1131" y="6"/>
                      <a:pt x="1131" y="7"/>
                      <a:pt x="1131" y="10"/>
                    </a:cubicBezTo>
                    <a:cubicBezTo>
                      <a:pt x="1131" y="12"/>
                      <a:pt x="1131" y="13"/>
                      <a:pt x="1133" y="14"/>
                    </a:cubicBezTo>
                    <a:close/>
                    <a:moveTo>
                      <a:pt x="1141" y="27"/>
                    </a:moveTo>
                    <a:cubicBezTo>
                      <a:pt x="1132" y="27"/>
                      <a:pt x="1132" y="27"/>
                      <a:pt x="1132" y="27"/>
                    </a:cubicBezTo>
                    <a:cubicBezTo>
                      <a:pt x="1132" y="90"/>
                      <a:pt x="1132" y="90"/>
                      <a:pt x="1132" y="90"/>
                    </a:cubicBezTo>
                    <a:cubicBezTo>
                      <a:pt x="1141" y="90"/>
                      <a:pt x="1141" y="90"/>
                      <a:pt x="1141" y="90"/>
                    </a:cubicBezTo>
                    <a:lnTo>
                      <a:pt x="1141" y="27"/>
                    </a:lnTo>
                    <a:close/>
                    <a:moveTo>
                      <a:pt x="1101" y="80"/>
                    </a:moveTo>
                    <a:cubicBezTo>
                      <a:pt x="1099" y="78"/>
                      <a:pt x="1099" y="75"/>
                      <a:pt x="1099" y="71"/>
                    </a:cubicBezTo>
                    <a:cubicBezTo>
                      <a:pt x="1099" y="34"/>
                      <a:pt x="1099" y="34"/>
                      <a:pt x="1099" y="34"/>
                    </a:cubicBezTo>
                    <a:cubicBezTo>
                      <a:pt x="1117" y="34"/>
                      <a:pt x="1117" y="34"/>
                      <a:pt x="1117" y="34"/>
                    </a:cubicBezTo>
                    <a:cubicBezTo>
                      <a:pt x="1117" y="27"/>
                      <a:pt x="1117" y="27"/>
                      <a:pt x="1117" y="27"/>
                    </a:cubicBezTo>
                    <a:cubicBezTo>
                      <a:pt x="1099" y="27"/>
                      <a:pt x="1099" y="27"/>
                      <a:pt x="1099" y="27"/>
                    </a:cubicBezTo>
                    <a:cubicBezTo>
                      <a:pt x="1099" y="12"/>
                      <a:pt x="1099" y="12"/>
                      <a:pt x="1099" y="12"/>
                    </a:cubicBezTo>
                    <a:cubicBezTo>
                      <a:pt x="1093" y="12"/>
                      <a:pt x="1093" y="12"/>
                      <a:pt x="1093" y="12"/>
                    </a:cubicBezTo>
                    <a:cubicBezTo>
                      <a:pt x="1089" y="26"/>
                      <a:pt x="1089" y="26"/>
                      <a:pt x="1089" y="26"/>
                    </a:cubicBezTo>
                    <a:cubicBezTo>
                      <a:pt x="1080" y="30"/>
                      <a:pt x="1080" y="30"/>
                      <a:pt x="1080" y="30"/>
                    </a:cubicBezTo>
                    <a:cubicBezTo>
                      <a:pt x="1080" y="34"/>
                      <a:pt x="1080" y="34"/>
                      <a:pt x="1080" y="34"/>
                    </a:cubicBezTo>
                    <a:cubicBezTo>
                      <a:pt x="1089" y="34"/>
                      <a:pt x="1089" y="34"/>
                      <a:pt x="1089" y="34"/>
                    </a:cubicBezTo>
                    <a:cubicBezTo>
                      <a:pt x="1089" y="72"/>
                      <a:pt x="1089" y="72"/>
                      <a:pt x="1089" y="72"/>
                    </a:cubicBezTo>
                    <a:cubicBezTo>
                      <a:pt x="1089" y="85"/>
                      <a:pt x="1095" y="91"/>
                      <a:pt x="1107" y="91"/>
                    </a:cubicBezTo>
                    <a:cubicBezTo>
                      <a:pt x="1109" y="91"/>
                      <a:pt x="1111" y="91"/>
                      <a:pt x="1113" y="91"/>
                    </a:cubicBezTo>
                    <a:cubicBezTo>
                      <a:pt x="1115" y="90"/>
                      <a:pt x="1116" y="90"/>
                      <a:pt x="1117" y="89"/>
                    </a:cubicBezTo>
                    <a:cubicBezTo>
                      <a:pt x="1117" y="82"/>
                      <a:pt x="1117" y="82"/>
                      <a:pt x="1117" y="82"/>
                    </a:cubicBezTo>
                    <a:cubicBezTo>
                      <a:pt x="1116" y="82"/>
                      <a:pt x="1115" y="83"/>
                      <a:pt x="1114" y="83"/>
                    </a:cubicBezTo>
                    <a:cubicBezTo>
                      <a:pt x="1112" y="83"/>
                      <a:pt x="1110" y="83"/>
                      <a:pt x="1109" y="83"/>
                    </a:cubicBezTo>
                    <a:cubicBezTo>
                      <a:pt x="1106" y="83"/>
                      <a:pt x="1103" y="82"/>
                      <a:pt x="1101" y="80"/>
                    </a:cubicBezTo>
                    <a:close/>
                    <a:moveTo>
                      <a:pt x="1013" y="27"/>
                    </a:moveTo>
                    <a:cubicBezTo>
                      <a:pt x="1013" y="68"/>
                      <a:pt x="1013" y="68"/>
                      <a:pt x="1013" y="68"/>
                    </a:cubicBezTo>
                    <a:cubicBezTo>
                      <a:pt x="1013" y="76"/>
                      <a:pt x="1015" y="82"/>
                      <a:pt x="1019" y="86"/>
                    </a:cubicBezTo>
                    <a:cubicBezTo>
                      <a:pt x="1023" y="89"/>
                      <a:pt x="1029" y="91"/>
                      <a:pt x="1036" y="91"/>
                    </a:cubicBezTo>
                    <a:cubicBezTo>
                      <a:pt x="1041" y="91"/>
                      <a:pt x="1045" y="90"/>
                      <a:pt x="1048" y="89"/>
                    </a:cubicBezTo>
                    <a:cubicBezTo>
                      <a:pt x="1052" y="87"/>
                      <a:pt x="1054" y="85"/>
                      <a:pt x="1056" y="81"/>
                    </a:cubicBezTo>
                    <a:cubicBezTo>
                      <a:pt x="1057" y="81"/>
                      <a:pt x="1057" y="81"/>
                      <a:pt x="1057" y="81"/>
                    </a:cubicBezTo>
                    <a:cubicBezTo>
                      <a:pt x="1058" y="90"/>
                      <a:pt x="1058" y="90"/>
                      <a:pt x="1058" y="90"/>
                    </a:cubicBezTo>
                    <a:cubicBezTo>
                      <a:pt x="1066" y="90"/>
                      <a:pt x="1066" y="90"/>
                      <a:pt x="1066" y="90"/>
                    </a:cubicBezTo>
                    <a:cubicBezTo>
                      <a:pt x="1066" y="27"/>
                      <a:pt x="1066" y="27"/>
                      <a:pt x="1066" y="27"/>
                    </a:cubicBezTo>
                    <a:cubicBezTo>
                      <a:pt x="1057" y="27"/>
                      <a:pt x="1057" y="27"/>
                      <a:pt x="1057" y="27"/>
                    </a:cubicBezTo>
                    <a:cubicBezTo>
                      <a:pt x="1057" y="60"/>
                      <a:pt x="1057" y="60"/>
                      <a:pt x="1057" y="60"/>
                    </a:cubicBezTo>
                    <a:cubicBezTo>
                      <a:pt x="1057" y="68"/>
                      <a:pt x="1055" y="74"/>
                      <a:pt x="1052" y="78"/>
                    </a:cubicBezTo>
                    <a:cubicBezTo>
                      <a:pt x="1049" y="81"/>
                      <a:pt x="1044" y="83"/>
                      <a:pt x="1038" y="83"/>
                    </a:cubicBezTo>
                    <a:cubicBezTo>
                      <a:pt x="1033" y="83"/>
                      <a:pt x="1029" y="82"/>
                      <a:pt x="1027" y="79"/>
                    </a:cubicBezTo>
                    <a:cubicBezTo>
                      <a:pt x="1024" y="77"/>
                      <a:pt x="1023" y="73"/>
                      <a:pt x="1023" y="68"/>
                    </a:cubicBezTo>
                    <a:cubicBezTo>
                      <a:pt x="1023" y="27"/>
                      <a:pt x="1023" y="27"/>
                      <a:pt x="1023" y="27"/>
                    </a:cubicBezTo>
                    <a:lnTo>
                      <a:pt x="1013" y="27"/>
                    </a:lnTo>
                    <a:close/>
                    <a:moveTo>
                      <a:pt x="992" y="0"/>
                    </a:moveTo>
                    <a:cubicBezTo>
                      <a:pt x="982" y="0"/>
                      <a:pt x="982" y="0"/>
                      <a:pt x="982" y="0"/>
                    </a:cubicBezTo>
                    <a:cubicBezTo>
                      <a:pt x="982" y="90"/>
                      <a:pt x="982" y="90"/>
                      <a:pt x="982" y="90"/>
                    </a:cubicBezTo>
                    <a:cubicBezTo>
                      <a:pt x="992" y="90"/>
                      <a:pt x="992" y="90"/>
                      <a:pt x="992" y="90"/>
                    </a:cubicBezTo>
                    <a:lnTo>
                      <a:pt x="992" y="0"/>
                    </a:lnTo>
                    <a:close/>
                    <a:moveTo>
                      <a:pt x="921" y="40"/>
                    </a:moveTo>
                    <a:cubicBezTo>
                      <a:pt x="924" y="36"/>
                      <a:pt x="929" y="34"/>
                      <a:pt x="935" y="34"/>
                    </a:cubicBezTo>
                    <a:cubicBezTo>
                      <a:pt x="941" y="34"/>
                      <a:pt x="946" y="36"/>
                      <a:pt x="949" y="40"/>
                    </a:cubicBezTo>
                    <a:cubicBezTo>
                      <a:pt x="952" y="44"/>
                      <a:pt x="954" y="50"/>
                      <a:pt x="954" y="58"/>
                    </a:cubicBezTo>
                    <a:cubicBezTo>
                      <a:pt x="954" y="66"/>
                      <a:pt x="952" y="73"/>
                      <a:pt x="949" y="77"/>
                    </a:cubicBezTo>
                    <a:cubicBezTo>
                      <a:pt x="946" y="81"/>
                      <a:pt x="941" y="83"/>
                      <a:pt x="935" y="83"/>
                    </a:cubicBezTo>
                    <a:cubicBezTo>
                      <a:pt x="929" y="83"/>
                      <a:pt x="924" y="81"/>
                      <a:pt x="921" y="77"/>
                    </a:cubicBezTo>
                    <a:cubicBezTo>
                      <a:pt x="917" y="73"/>
                      <a:pt x="916" y="66"/>
                      <a:pt x="916" y="58"/>
                    </a:cubicBezTo>
                    <a:cubicBezTo>
                      <a:pt x="916" y="50"/>
                      <a:pt x="917" y="44"/>
                      <a:pt x="921" y="40"/>
                    </a:cubicBezTo>
                    <a:close/>
                    <a:moveTo>
                      <a:pt x="956" y="34"/>
                    </a:moveTo>
                    <a:cubicBezTo>
                      <a:pt x="951" y="29"/>
                      <a:pt x="944" y="26"/>
                      <a:pt x="935" y="26"/>
                    </a:cubicBezTo>
                    <a:cubicBezTo>
                      <a:pt x="926" y="26"/>
                      <a:pt x="919" y="29"/>
                      <a:pt x="914" y="34"/>
                    </a:cubicBezTo>
                    <a:cubicBezTo>
                      <a:pt x="908" y="40"/>
                      <a:pt x="906" y="48"/>
                      <a:pt x="906" y="58"/>
                    </a:cubicBezTo>
                    <a:cubicBezTo>
                      <a:pt x="906" y="65"/>
                      <a:pt x="907" y="71"/>
                      <a:pt x="909" y="76"/>
                    </a:cubicBezTo>
                    <a:cubicBezTo>
                      <a:pt x="912" y="81"/>
                      <a:pt x="915" y="84"/>
                      <a:pt x="920" y="87"/>
                    </a:cubicBezTo>
                    <a:cubicBezTo>
                      <a:pt x="924" y="90"/>
                      <a:pt x="929" y="91"/>
                      <a:pt x="935" y="91"/>
                    </a:cubicBezTo>
                    <a:cubicBezTo>
                      <a:pt x="944" y="91"/>
                      <a:pt x="951" y="88"/>
                      <a:pt x="956" y="82"/>
                    </a:cubicBezTo>
                    <a:cubicBezTo>
                      <a:pt x="961" y="77"/>
                      <a:pt x="964" y="69"/>
                      <a:pt x="964" y="58"/>
                    </a:cubicBezTo>
                    <a:cubicBezTo>
                      <a:pt x="964" y="48"/>
                      <a:pt x="961" y="40"/>
                      <a:pt x="956" y="34"/>
                    </a:cubicBezTo>
                    <a:close/>
                    <a:moveTo>
                      <a:pt x="874" y="90"/>
                    </a:moveTo>
                    <a:cubicBezTo>
                      <a:pt x="898" y="27"/>
                      <a:pt x="898" y="27"/>
                      <a:pt x="898" y="27"/>
                    </a:cubicBezTo>
                    <a:cubicBezTo>
                      <a:pt x="887" y="27"/>
                      <a:pt x="887" y="27"/>
                      <a:pt x="887" y="27"/>
                    </a:cubicBezTo>
                    <a:cubicBezTo>
                      <a:pt x="879" y="48"/>
                      <a:pt x="874" y="62"/>
                      <a:pt x="872" y="69"/>
                    </a:cubicBezTo>
                    <a:cubicBezTo>
                      <a:pt x="870" y="75"/>
                      <a:pt x="869" y="79"/>
                      <a:pt x="868" y="81"/>
                    </a:cubicBezTo>
                    <a:cubicBezTo>
                      <a:pt x="868" y="81"/>
                      <a:pt x="868" y="81"/>
                      <a:pt x="868" y="81"/>
                    </a:cubicBezTo>
                    <a:cubicBezTo>
                      <a:pt x="867" y="79"/>
                      <a:pt x="865" y="73"/>
                      <a:pt x="862" y="64"/>
                    </a:cubicBezTo>
                    <a:cubicBezTo>
                      <a:pt x="849" y="27"/>
                      <a:pt x="849" y="27"/>
                      <a:pt x="849" y="27"/>
                    </a:cubicBezTo>
                    <a:cubicBezTo>
                      <a:pt x="838" y="27"/>
                      <a:pt x="838" y="27"/>
                      <a:pt x="838" y="27"/>
                    </a:cubicBezTo>
                    <a:cubicBezTo>
                      <a:pt x="862" y="90"/>
                      <a:pt x="862" y="90"/>
                      <a:pt x="862" y="90"/>
                    </a:cubicBezTo>
                    <a:lnTo>
                      <a:pt x="874" y="90"/>
                    </a:lnTo>
                    <a:close/>
                    <a:moveTo>
                      <a:pt x="830" y="81"/>
                    </a:moveTo>
                    <a:cubicBezTo>
                      <a:pt x="792" y="81"/>
                      <a:pt x="792" y="81"/>
                      <a:pt x="792" y="81"/>
                    </a:cubicBezTo>
                    <a:cubicBezTo>
                      <a:pt x="792" y="50"/>
                      <a:pt x="792" y="50"/>
                      <a:pt x="792" y="50"/>
                    </a:cubicBezTo>
                    <a:cubicBezTo>
                      <a:pt x="827" y="50"/>
                      <a:pt x="827" y="50"/>
                      <a:pt x="827" y="50"/>
                    </a:cubicBezTo>
                    <a:cubicBezTo>
                      <a:pt x="827" y="42"/>
                      <a:pt x="827" y="42"/>
                      <a:pt x="827" y="42"/>
                    </a:cubicBezTo>
                    <a:cubicBezTo>
                      <a:pt x="792" y="42"/>
                      <a:pt x="792" y="42"/>
                      <a:pt x="792" y="42"/>
                    </a:cubicBezTo>
                    <a:cubicBezTo>
                      <a:pt x="792" y="14"/>
                      <a:pt x="792" y="14"/>
                      <a:pt x="792" y="14"/>
                    </a:cubicBezTo>
                    <a:cubicBezTo>
                      <a:pt x="830" y="14"/>
                      <a:pt x="830" y="14"/>
                      <a:pt x="830" y="14"/>
                    </a:cubicBezTo>
                    <a:cubicBezTo>
                      <a:pt x="830" y="6"/>
                      <a:pt x="830" y="6"/>
                      <a:pt x="830" y="6"/>
                    </a:cubicBezTo>
                    <a:cubicBezTo>
                      <a:pt x="783" y="6"/>
                      <a:pt x="783" y="6"/>
                      <a:pt x="783" y="6"/>
                    </a:cubicBezTo>
                    <a:cubicBezTo>
                      <a:pt x="783" y="90"/>
                      <a:pt x="783" y="90"/>
                      <a:pt x="783" y="90"/>
                    </a:cubicBezTo>
                    <a:cubicBezTo>
                      <a:pt x="830" y="90"/>
                      <a:pt x="830" y="90"/>
                      <a:pt x="830" y="90"/>
                    </a:cubicBezTo>
                    <a:lnTo>
                      <a:pt x="830" y="81"/>
                    </a:lnTo>
                    <a:close/>
                    <a:moveTo>
                      <a:pt x="727" y="90"/>
                    </a:moveTo>
                    <a:cubicBezTo>
                      <a:pt x="727" y="49"/>
                      <a:pt x="727" y="49"/>
                      <a:pt x="727" y="49"/>
                    </a:cubicBezTo>
                    <a:cubicBezTo>
                      <a:pt x="727" y="41"/>
                      <a:pt x="725" y="35"/>
                      <a:pt x="722" y="31"/>
                    </a:cubicBezTo>
                    <a:cubicBezTo>
                      <a:pt x="718" y="28"/>
                      <a:pt x="712" y="26"/>
                      <a:pt x="704" y="26"/>
                    </a:cubicBezTo>
                    <a:cubicBezTo>
                      <a:pt x="700" y="26"/>
                      <a:pt x="696" y="27"/>
                      <a:pt x="692" y="28"/>
                    </a:cubicBezTo>
                    <a:cubicBezTo>
                      <a:pt x="689" y="30"/>
                      <a:pt x="686" y="33"/>
                      <a:pt x="684" y="36"/>
                    </a:cubicBezTo>
                    <a:cubicBezTo>
                      <a:pt x="684" y="36"/>
                      <a:pt x="684" y="36"/>
                      <a:pt x="684" y="36"/>
                    </a:cubicBezTo>
                    <a:cubicBezTo>
                      <a:pt x="684" y="33"/>
                      <a:pt x="684" y="31"/>
                      <a:pt x="684" y="27"/>
                    </a:cubicBezTo>
                    <a:cubicBezTo>
                      <a:pt x="684" y="0"/>
                      <a:pt x="684" y="0"/>
                      <a:pt x="684" y="0"/>
                    </a:cubicBezTo>
                    <a:cubicBezTo>
                      <a:pt x="675" y="0"/>
                      <a:pt x="675" y="0"/>
                      <a:pt x="675" y="0"/>
                    </a:cubicBezTo>
                    <a:cubicBezTo>
                      <a:pt x="675" y="90"/>
                      <a:pt x="675" y="90"/>
                      <a:pt x="675" y="90"/>
                    </a:cubicBezTo>
                    <a:cubicBezTo>
                      <a:pt x="684" y="90"/>
                      <a:pt x="684" y="90"/>
                      <a:pt x="684" y="90"/>
                    </a:cubicBezTo>
                    <a:cubicBezTo>
                      <a:pt x="684" y="57"/>
                      <a:pt x="684" y="57"/>
                      <a:pt x="684" y="57"/>
                    </a:cubicBezTo>
                    <a:cubicBezTo>
                      <a:pt x="684" y="49"/>
                      <a:pt x="686" y="43"/>
                      <a:pt x="689" y="39"/>
                    </a:cubicBezTo>
                    <a:cubicBezTo>
                      <a:pt x="692" y="36"/>
                      <a:pt x="697" y="34"/>
                      <a:pt x="703" y="34"/>
                    </a:cubicBezTo>
                    <a:cubicBezTo>
                      <a:pt x="708" y="34"/>
                      <a:pt x="712" y="35"/>
                      <a:pt x="714" y="38"/>
                    </a:cubicBezTo>
                    <a:cubicBezTo>
                      <a:pt x="717" y="40"/>
                      <a:pt x="718" y="44"/>
                      <a:pt x="718" y="49"/>
                    </a:cubicBezTo>
                    <a:cubicBezTo>
                      <a:pt x="718" y="90"/>
                      <a:pt x="718" y="90"/>
                      <a:pt x="718" y="90"/>
                    </a:cubicBezTo>
                    <a:lnTo>
                      <a:pt x="727" y="90"/>
                    </a:lnTo>
                    <a:close/>
                    <a:moveTo>
                      <a:pt x="644" y="80"/>
                    </a:moveTo>
                    <a:cubicBezTo>
                      <a:pt x="642" y="78"/>
                      <a:pt x="641" y="75"/>
                      <a:pt x="641" y="71"/>
                    </a:cubicBezTo>
                    <a:cubicBezTo>
                      <a:pt x="641" y="34"/>
                      <a:pt x="641" y="34"/>
                      <a:pt x="641" y="34"/>
                    </a:cubicBezTo>
                    <a:cubicBezTo>
                      <a:pt x="660" y="34"/>
                      <a:pt x="660" y="34"/>
                      <a:pt x="660" y="34"/>
                    </a:cubicBezTo>
                    <a:cubicBezTo>
                      <a:pt x="660" y="27"/>
                      <a:pt x="660" y="27"/>
                      <a:pt x="660" y="27"/>
                    </a:cubicBezTo>
                    <a:cubicBezTo>
                      <a:pt x="641" y="27"/>
                      <a:pt x="641" y="27"/>
                      <a:pt x="641" y="27"/>
                    </a:cubicBezTo>
                    <a:cubicBezTo>
                      <a:pt x="641" y="12"/>
                      <a:pt x="641" y="12"/>
                      <a:pt x="641" y="12"/>
                    </a:cubicBezTo>
                    <a:cubicBezTo>
                      <a:pt x="636" y="12"/>
                      <a:pt x="636" y="12"/>
                      <a:pt x="636" y="12"/>
                    </a:cubicBezTo>
                    <a:cubicBezTo>
                      <a:pt x="632" y="26"/>
                      <a:pt x="632" y="26"/>
                      <a:pt x="632" y="26"/>
                    </a:cubicBezTo>
                    <a:cubicBezTo>
                      <a:pt x="623" y="30"/>
                      <a:pt x="623" y="30"/>
                      <a:pt x="623" y="30"/>
                    </a:cubicBezTo>
                    <a:cubicBezTo>
                      <a:pt x="623" y="34"/>
                      <a:pt x="623" y="34"/>
                      <a:pt x="623" y="34"/>
                    </a:cubicBezTo>
                    <a:cubicBezTo>
                      <a:pt x="632" y="34"/>
                      <a:pt x="632" y="34"/>
                      <a:pt x="632" y="34"/>
                    </a:cubicBezTo>
                    <a:cubicBezTo>
                      <a:pt x="632" y="72"/>
                      <a:pt x="632" y="72"/>
                      <a:pt x="632" y="72"/>
                    </a:cubicBezTo>
                    <a:cubicBezTo>
                      <a:pt x="632" y="85"/>
                      <a:pt x="638" y="91"/>
                      <a:pt x="650" y="91"/>
                    </a:cubicBezTo>
                    <a:cubicBezTo>
                      <a:pt x="652" y="91"/>
                      <a:pt x="654" y="91"/>
                      <a:pt x="656" y="91"/>
                    </a:cubicBezTo>
                    <a:cubicBezTo>
                      <a:pt x="658" y="90"/>
                      <a:pt x="659" y="90"/>
                      <a:pt x="660" y="89"/>
                    </a:cubicBezTo>
                    <a:cubicBezTo>
                      <a:pt x="660" y="82"/>
                      <a:pt x="660" y="82"/>
                      <a:pt x="660" y="82"/>
                    </a:cubicBezTo>
                    <a:cubicBezTo>
                      <a:pt x="659" y="82"/>
                      <a:pt x="658" y="83"/>
                      <a:pt x="656" y="83"/>
                    </a:cubicBezTo>
                    <a:cubicBezTo>
                      <a:pt x="655" y="83"/>
                      <a:pt x="653" y="83"/>
                      <a:pt x="651" y="83"/>
                    </a:cubicBezTo>
                    <a:cubicBezTo>
                      <a:pt x="648" y="83"/>
                      <a:pt x="646" y="82"/>
                      <a:pt x="644" y="80"/>
                    </a:cubicBezTo>
                    <a:close/>
                    <a:moveTo>
                      <a:pt x="609" y="0"/>
                    </a:moveTo>
                    <a:cubicBezTo>
                      <a:pt x="599" y="0"/>
                      <a:pt x="599" y="0"/>
                      <a:pt x="599" y="0"/>
                    </a:cubicBezTo>
                    <a:cubicBezTo>
                      <a:pt x="599" y="90"/>
                      <a:pt x="599" y="90"/>
                      <a:pt x="599" y="90"/>
                    </a:cubicBezTo>
                    <a:cubicBezTo>
                      <a:pt x="609" y="90"/>
                      <a:pt x="609" y="90"/>
                      <a:pt x="609" y="90"/>
                    </a:cubicBezTo>
                    <a:lnTo>
                      <a:pt x="609" y="0"/>
                    </a:lnTo>
                    <a:close/>
                    <a:moveTo>
                      <a:pt x="541" y="81"/>
                    </a:moveTo>
                    <a:cubicBezTo>
                      <a:pt x="538" y="79"/>
                      <a:pt x="537" y="76"/>
                      <a:pt x="537" y="73"/>
                    </a:cubicBezTo>
                    <a:cubicBezTo>
                      <a:pt x="537" y="68"/>
                      <a:pt x="539" y="65"/>
                      <a:pt x="542" y="63"/>
                    </a:cubicBezTo>
                    <a:cubicBezTo>
                      <a:pt x="546" y="61"/>
                      <a:pt x="551" y="60"/>
                      <a:pt x="559" y="59"/>
                    </a:cubicBezTo>
                    <a:cubicBezTo>
                      <a:pt x="568" y="59"/>
                      <a:pt x="568" y="59"/>
                      <a:pt x="568" y="59"/>
                    </a:cubicBezTo>
                    <a:cubicBezTo>
                      <a:pt x="568" y="65"/>
                      <a:pt x="568" y="65"/>
                      <a:pt x="568" y="65"/>
                    </a:cubicBezTo>
                    <a:cubicBezTo>
                      <a:pt x="568" y="70"/>
                      <a:pt x="567" y="75"/>
                      <a:pt x="563" y="78"/>
                    </a:cubicBezTo>
                    <a:cubicBezTo>
                      <a:pt x="560" y="82"/>
                      <a:pt x="555" y="83"/>
                      <a:pt x="549" y="83"/>
                    </a:cubicBezTo>
                    <a:cubicBezTo>
                      <a:pt x="546" y="83"/>
                      <a:pt x="543" y="82"/>
                      <a:pt x="541" y="81"/>
                    </a:cubicBezTo>
                    <a:close/>
                    <a:moveTo>
                      <a:pt x="578" y="90"/>
                    </a:moveTo>
                    <a:cubicBezTo>
                      <a:pt x="578" y="47"/>
                      <a:pt x="578" y="47"/>
                      <a:pt x="578" y="47"/>
                    </a:cubicBezTo>
                    <a:cubicBezTo>
                      <a:pt x="578" y="39"/>
                      <a:pt x="576" y="34"/>
                      <a:pt x="573" y="31"/>
                    </a:cubicBezTo>
                    <a:cubicBezTo>
                      <a:pt x="569" y="27"/>
                      <a:pt x="563" y="26"/>
                      <a:pt x="556" y="26"/>
                    </a:cubicBezTo>
                    <a:cubicBezTo>
                      <a:pt x="552" y="26"/>
                      <a:pt x="548" y="26"/>
                      <a:pt x="545" y="27"/>
                    </a:cubicBezTo>
                    <a:cubicBezTo>
                      <a:pt x="541" y="28"/>
                      <a:pt x="538" y="29"/>
                      <a:pt x="534" y="31"/>
                    </a:cubicBezTo>
                    <a:cubicBezTo>
                      <a:pt x="537" y="38"/>
                      <a:pt x="537" y="38"/>
                      <a:pt x="537" y="38"/>
                    </a:cubicBezTo>
                    <a:cubicBezTo>
                      <a:pt x="544" y="35"/>
                      <a:pt x="550" y="34"/>
                      <a:pt x="555" y="34"/>
                    </a:cubicBezTo>
                    <a:cubicBezTo>
                      <a:pt x="560" y="34"/>
                      <a:pt x="563" y="35"/>
                      <a:pt x="565" y="37"/>
                    </a:cubicBezTo>
                    <a:cubicBezTo>
                      <a:pt x="568" y="40"/>
                      <a:pt x="569" y="43"/>
                      <a:pt x="569" y="48"/>
                    </a:cubicBezTo>
                    <a:cubicBezTo>
                      <a:pt x="569" y="52"/>
                      <a:pt x="569" y="52"/>
                      <a:pt x="569" y="52"/>
                    </a:cubicBezTo>
                    <a:cubicBezTo>
                      <a:pt x="558" y="52"/>
                      <a:pt x="558" y="52"/>
                      <a:pt x="558" y="52"/>
                    </a:cubicBezTo>
                    <a:cubicBezTo>
                      <a:pt x="538" y="53"/>
                      <a:pt x="527" y="60"/>
                      <a:pt x="527" y="72"/>
                    </a:cubicBezTo>
                    <a:cubicBezTo>
                      <a:pt x="527" y="78"/>
                      <a:pt x="529" y="83"/>
                      <a:pt x="533" y="86"/>
                    </a:cubicBezTo>
                    <a:cubicBezTo>
                      <a:pt x="536" y="89"/>
                      <a:pt x="541" y="91"/>
                      <a:pt x="547" y="91"/>
                    </a:cubicBezTo>
                    <a:cubicBezTo>
                      <a:pt x="552" y="91"/>
                      <a:pt x="556" y="90"/>
                      <a:pt x="559" y="89"/>
                    </a:cubicBezTo>
                    <a:cubicBezTo>
                      <a:pt x="562" y="88"/>
                      <a:pt x="565" y="85"/>
                      <a:pt x="569" y="81"/>
                    </a:cubicBezTo>
                    <a:cubicBezTo>
                      <a:pt x="569" y="81"/>
                      <a:pt x="569" y="81"/>
                      <a:pt x="569" y="81"/>
                    </a:cubicBezTo>
                    <a:cubicBezTo>
                      <a:pt x="571" y="90"/>
                      <a:pt x="571" y="90"/>
                      <a:pt x="571" y="90"/>
                    </a:cubicBezTo>
                    <a:lnTo>
                      <a:pt x="578" y="90"/>
                    </a:lnTo>
                    <a:close/>
                    <a:moveTo>
                      <a:pt x="500" y="38"/>
                    </a:moveTo>
                    <a:cubicBezTo>
                      <a:pt x="502" y="42"/>
                      <a:pt x="504" y="46"/>
                      <a:pt x="504" y="52"/>
                    </a:cubicBezTo>
                    <a:cubicBezTo>
                      <a:pt x="471" y="52"/>
                      <a:pt x="471" y="52"/>
                      <a:pt x="471" y="52"/>
                    </a:cubicBezTo>
                    <a:cubicBezTo>
                      <a:pt x="471" y="46"/>
                      <a:pt x="473" y="42"/>
                      <a:pt x="476" y="39"/>
                    </a:cubicBezTo>
                    <a:cubicBezTo>
                      <a:pt x="479" y="35"/>
                      <a:pt x="483" y="34"/>
                      <a:pt x="488" y="34"/>
                    </a:cubicBezTo>
                    <a:cubicBezTo>
                      <a:pt x="493" y="34"/>
                      <a:pt x="497" y="35"/>
                      <a:pt x="500" y="38"/>
                    </a:cubicBezTo>
                    <a:close/>
                    <a:moveTo>
                      <a:pt x="502" y="90"/>
                    </a:moveTo>
                    <a:cubicBezTo>
                      <a:pt x="505" y="90"/>
                      <a:pt x="508" y="88"/>
                      <a:pt x="511" y="87"/>
                    </a:cubicBezTo>
                    <a:cubicBezTo>
                      <a:pt x="511" y="78"/>
                      <a:pt x="511" y="78"/>
                      <a:pt x="511" y="78"/>
                    </a:cubicBezTo>
                    <a:cubicBezTo>
                      <a:pt x="505" y="81"/>
                      <a:pt x="498" y="83"/>
                      <a:pt x="491" y="83"/>
                    </a:cubicBezTo>
                    <a:cubicBezTo>
                      <a:pt x="485" y="83"/>
                      <a:pt x="480" y="81"/>
                      <a:pt x="476" y="77"/>
                    </a:cubicBezTo>
                    <a:cubicBezTo>
                      <a:pt x="473" y="73"/>
                      <a:pt x="471" y="68"/>
                      <a:pt x="471" y="60"/>
                    </a:cubicBezTo>
                    <a:cubicBezTo>
                      <a:pt x="514" y="60"/>
                      <a:pt x="514" y="60"/>
                      <a:pt x="514" y="60"/>
                    </a:cubicBezTo>
                    <a:cubicBezTo>
                      <a:pt x="514" y="54"/>
                      <a:pt x="514" y="54"/>
                      <a:pt x="514" y="54"/>
                    </a:cubicBezTo>
                    <a:cubicBezTo>
                      <a:pt x="514" y="46"/>
                      <a:pt x="512" y="39"/>
                      <a:pt x="507" y="33"/>
                    </a:cubicBezTo>
                    <a:cubicBezTo>
                      <a:pt x="502" y="28"/>
                      <a:pt x="496" y="26"/>
                      <a:pt x="488" y="26"/>
                    </a:cubicBezTo>
                    <a:cubicBezTo>
                      <a:pt x="480" y="26"/>
                      <a:pt x="473" y="29"/>
                      <a:pt x="468" y="35"/>
                    </a:cubicBezTo>
                    <a:cubicBezTo>
                      <a:pt x="463" y="41"/>
                      <a:pt x="461" y="49"/>
                      <a:pt x="461" y="59"/>
                    </a:cubicBezTo>
                    <a:cubicBezTo>
                      <a:pt x="461" y="69"/>
                      <a:pt x="463" y="77"/>
                      <a:pt x="469" y="83"/>
                    </a:cubicBezTo>
                    <a:cubicBezTo>
                      <a:pt x="474" y="88"/>
                      <a:pt x="481" y="91"/>
                      <a:pt x="491" y="91"/>
                    </a:cubicBezTo>
                    <a:cubicBezTo>
                      <a:pt x="495" y="91"/>
                      <a:pt x="499" y="91"/>
                      <a:pt x="502" y="90"/>
                    </a:cubicBezTo>
                    <a:close/>
                    <a:moveTo>
                      <a:pt x="441" y="6"/>
                    </a:moveTo>
                    <a:cubicBezTo>
                      <a:pt x="431" y="6"/>
                      <a:pt x="431" y="6"/>
                      <a:pt x="431" y="6"/>
                    </a:cubicBezTo>
                    <a:cubicBezTo>
                      <a:pt x="431" y="42"/>
                      <a:pt x="431" y="42"/>
                      <a:pt x="431" y="42"/>
                    </a:cubicBezTo>
                    <a:cubicBezTo>
                      <a:pt x="387" y="42"/>
                      <a:pt x="387" y="42"/>
                      <a:pt x="387" y="42"/>
                    </a:cubicBezTo>
                    <a:cubicBezTo>
                      <a:pt x="387" y="6"/>
                      <a:pt x="387" y="6"/>
                      <a:pt x="387" y="6"/>
                    </a:cubicBezTo>
                    <a:cubicBezTo>
                      <a:pt x="377" y="6"/>
                      <a:pt x="377" y="6"/>
                      <a:pt x="377" y="6"/>
                    </a:cubicBezTo>
                    <a:cubicBezTo>
                      <a:pt x="377" y="90"/>
                      <a:pt x="377" y="90"/>
                      <a:pt x="377" y="90"/>
                    </a:cubicBezTo>
                    <a:cubicBezTo>
                      <a:pt x="387" y="90"/>
                      <a:pt x="387" y="90"/>
                      <a:pt x="387" y="90"/>
                    </a:cubicBezTo>
                    <a:cubicBezTo>
                      <a:pt x="387" y="50"/>
                      <a:pt x="387" y="50"/>
                      <a:pt x="387" y="50"/>
                    </a:cubicBezTo>
                    <a:cubicBezTo>
                      <a:pt x="431" y="50"/>
                      <a:pt x="431" y="50"/>
                      <a:pt x="431" y="50"/>
                    </a:cubicBezTo>
                    <a:cubicBezTo>
                      <a:pt x="431" y="90"/>
                      <a:pt x="431" y="90"/>
                      <a:pt x="431" y="90"/>
                    </a:cubicBezTo>
                    <a:cubicBezTo>
                      <a:pt x="441" y="90"/>
                      <a:pt x="441" y="90"/>
                      <a:pt x="441" y="90"/>
                    </a:cubicBezTo>
                    <a:lnTo>
                      <a:pt x="441" y="6"/>
                    </a:lnTo>
                    <a:close/>
                    <a:moveTo>
                      <a:pt x="312" y="80"/>
                    </a:moveTo>
                    <a:cubicBezTo>
                      <a:pt x="311" y="78"/>
                      <a:pt x="310" y="75"/>
                      <a:pt x="310" y="71"/>
                    </a:cubicBezTo>
                    <a:cubicBezTo>
                      <a:pt x="310" y="34"/>
                      <a:pt x="310" y="34"/>
                      <a:pt x="310" y="34"/>
                    </a:cubicBezTo>
                    <a:cubicBezTo>
                      <a:pt x="328" y="34"/>
                      <a:pt x="328" y="34"/>
                      <a:pt x="328" y="34"/>
                    </a:cubicBezTo>
                    <a:cubicBezTo>
                      <a:pt x="328" y="27"/>
                      <a:pt x="328" y="27"/>
                      <a:pt x="328" y="27"/>
                    </a:cubicBezTo>
                    <a:cubicBezTo>
                      <a:pt x="310" y="27"/>
                      <a:pt x="310" y="27"/>
                      <a:pt x="310" y="27"/>
                    </a:cubicBezTo>
                    <a:cubicBezTo>
                      <a:pt x="310" y="12"/>
                      <a:pt x="310" y="12"/>
                      <a:pt x="310" y="12"/>
                    </a:cubicBezTo>
                    <a:cubicBezTo>
                      <a:pt x="304" y="12"/>
                      <a:pt x="304" y="12"/>
                      <a:pt x="304" y="12"/>
                    </a:cubicBezTo>
                    <a:cubicBezTo>
                      <a:pt x="300" y="26"/>
                      <a:pt x="300" y="26"/>
                      <a:pt x="300" y="26"/>
                    </a:cubicBezTo>
                    <a:cubicBezTo>
                      <a:pt x="291" y="30"/>
                      <a:pt x="291" y="30"/>
                      <a:pt x="291" y="30"/>
                    </a:cubicBezTo>
                    <a:cubicBezTo>
                      <a:pt x="291" y="34"/>
                      <a:pt x="291" y="34"/>
                      <a:pt x="291" y="34"/>
                    </a:cubicBezTo>
                    <a:cubicBezTo>
                      <a:pt x="300" y="34"/>
                      <a:pt x="300" y="34"/>
                      <a:pt x="300" y="34"/>
                    </a:cubicBezTo>
                    <a:cubicBezTo>
                      <a:pt x="300" y="72"/>
                      <a:pt x="300" y="72"/>
                      <a:pt x="300" y="72"/>
                    </a:cubicBezTo>
                    <a:cubicBezTo>
                      <a:pt x="300" y="85"/>
                      <a:pt x="306" y="91"/>
                      <a:pt x="318" y="91"/>
                    </a:cubicBezTo>
                    <a:cubicBezTo>
                      <a:pt x="320" y="91"/>
                      <a:pt x="322" y="91"/>
                      <a:pt x="324" y="91"/>
                    </a:cubicBezTo>
                    <a:cubicBezTo>
                      <a:pt x="326" y="90"/>
                      <a:pt x="327" y="90"/>
                      <a:pt x="328" y="89"/>
                    </a:cubicBezTo>
                    <a:cubicBezTo>
                      <a:pt x="328" y="82"/>
                      <a:pt x="328" y="82"/>
                      <a:pt x="328" y="82"/>
                    </a:cubicBezTo>
                    <a:cubicBezTo>
                      <a:pt x="328" y="82"/>
                      <a:pt x="326" y="83"/>
                      <a:pt x="325" y="83"/>
                    </a:cubicBezTo>
                    <a:cubicBezTo>
                      <a:pt x="323" y="83"/>
                      <a:pt x="322" y="83"/>
                      <a:pt x="320" y="83"/>
                    </a:cubicBezTo>
                    <a:cubicBezTo>
                      <a:pt x="317" y="83"/>
                      <a:pt x="314" y="82"/>
                      <a:pt x="312" y="80"/>
                    </a:cubicBezTo>
                    <a:close/>
                    <a:moveTo>
                      <a:pt x="267" y="29"/>
                    </a:moveTo>
                    <a:cubicBezTo>
                      <a:pt x="264" y="31"/>
                      <a:pt x="261" y="34"/>
                      <a:pt x="259" y="38"/>
                    </a:cubicBezTo>
                    <a:cubicBezTo>
                      <a:pt x="258" y="38"/>
                      <a:pt x="258" y="38"/>
                      <a:pt x="258" y="38"/>
                    </a:cubicBezTo>
                    <a:cubicBezTo>
                      <a:pt x="257" y="27"/>
                      <a:pt x="257" y="27"/>
                      <a:pt x="257" y="27"/>
                    </a:cubicBezTo>
                    <a:cubicBezTo>
                      <a:pt x="249" y="27"/>
                      <a:pt x="249" y="27"/>
                      <a:pt x="249" y="27"/>
                    </a:cubicBezTo>
                    <a:cubicBezTo>
                      <a:pt x="249" y="90"/>
                      <a:pt x="249" y="90"/>
                      <a:pt x="249" y="90"/>
                    </a:cubicBezTo>
                    <a:cubicBezTo>
                      <a:pt x="259" y="90"/>
                      <a:pt x="259" y="90"/>
                      <a:pt x="259" y="90"/>
                    </a:cubicBezTo>
                    <a:cubicBezTo>
                      <a:pt x="259" y="56"/>
                      <a:pt x="259" y="56"/>
                      <a:pt x="259" y="56"/>
                    </a:cubicBezTo>
                    <a:cubicBezTo>
                      <a:pt x="259" y="50"/>
                      <a:pt x="261" y="45"/>
                      <a:pt x="265" y="41"/>
                    </a:cubicBezTo>
                    <a:cubicBezTo>
                      <a:pt x="268" y="36"/>
                      <a:pt x="273" y="34"/>
                      <a:pt x="278" y="34"/>
                    </a:cubicBezTo>
                    <a:cubicBezTo>
                      <a:pt x="280" y="34"/>
                      <a:pt x="282" y="35"/>
                      <a:pt x="285" y="35"/>
                    </a:cubicBezTo>
                    <a:cubicBezTo>
                      <a:pt x="286" y="26"/>
                      <a:pt x="286" y="26"/>
                      <a:pt x="286" y="26"/>
                    </a:cubicBezTo>
                    <a:cubicBezTo>
                      <a:pt x="284" y="26"/>
                      <a:pt x="281" y="26"/>
                      <a:pt x="278" y="26"/>
                    </a:cubicBezTo>
                    <a:cubicBezTo>
                      <a:pt x="274" y="26"/>
                      <a:pt x="271" y="27"/>
                      <a:pt x="267" y="29"/>
                    </a:cubicBezTo>
                    <a:close/>
                    <a:moveTo>
                      <a:pt x="191" y="81"/>
                    </a:moveTo>
                    <a:cubicBezTo>
                      <a:pt x="188" y="79"/>
                      <a:pt x="187" y="76"/>
                      <a:pt x="187" y="73"/>
                    </a:cubicBezTo>
                    <a:cubicBezTo>
                      <a:pt x="187" y="68"/>
                      <a:pt x="189" y="65"/>
                      <a:pt x="192" y="63"/>
                    </a:cubicBezTo>
                    <a:cubicBezTo>
                      <a:pt x="196" y="61"/>
                      <a:pt x="201" y="60"/>
                      <a:pt x="209" y="59"/>
                    </a:cubicBezTo>
                    <a:cubicBezTo>
                      <a:pt x="218" y="59"/>
                      <a:pt x="218" y="59"/>
                      <a:pt x="218" y="59"/>
                    </a:cubicBezTo>
                    <a:cubicBezTo>
                      <a:pt x="218" y="65"/>
                      <a:pt x="218" y="65"/>
                      <a:pt x="218" y="65"/>
                    </a:cubicBezTo>
                    <a:cubicBezTo>
                      <a:pt x="218" y="70"/>
                      <a:pt x="217" y="75"/>
                      <a:pt x="213" y="78"/>
                    </a:cubicBezTo>
                    <a:cubicBezTo>
                      <a:pt x="210" y="82"/>
                      <a:pt x="205" y="83"/>
                      <a:pt x="199" y="83"/>
                    </a:cubicBezTo>
                    <a:cubicBezTo>
                      <a:pt x="196" y="83"/>
                      <a:pt x="193" y="82"/>
                      <a:pt x="191" y="81"/>
                    </a:cubicBezTo>
                    <a:close/>
                    <a:moveTo>
                      <a:pt x="228" y="90"/>
                    </a:moveTo>
                    <a:cubicBezTo>
                      <a:pt x="228" y="47"/>
                      <a:pt x="228" y="47"/>
                      <a:pt x="228" y="47"/>
                    </a:cubicBezTo>
                    <a:cubicBezTo>
                      <a:pt x="228" y="39"/>
                      <a:pt x="226" y="34"/>
                      <a:pt x="223" y="31"/>
                    </a:cubicBezTo>
                    <a:cubicBezTo>
                      <a:pt x="219" y="27"/>
                      <a:pt x="213" y="26"/>
                      <a:pt x="206" y="26"/>
                    </a:cubicBezTo>
                    <a:cubicBezTo>
                      <a:pt x="202" y="26"/>
                      <a:pt x="198" y="26"/>
                      <a:pt x="195" y="27"/>
                    </a:cubicBezTo>
                    <a:cubicBezTo>
                      <a:pt x="191" y="28"/>
                      <a:pt x="188" y="29"/>
                      <a:pt x="184" y="31"/>
                    </a:cubicBezTo>
                    <a:cubicBezTo>
                      <a:pt x="187" y="38"/>
                      <a:pt x="187" y="38"/>
                      <a:pt x="187" y="38"/>
                    </a:cubicBezTo>
                    <a:cubicBezTo>
                      <a:pt x="194" y="35"/>
                      <a:pt x="200" y="34"/>
                      <a:pt x="205" y="34"/>
                    </a:cubicBezTo>
                    <a:cubicBezTo>
                      <a:pt x="210" y="34"/>
                      <a:pt x="213" y="35"/>
                      <a:pt x="215" y="37"/>
                    </a:cubicBezTo>
                    <a:cubicBezTo>
                      <a:pt x="218" y="40"/>
                      <a:pt x="219" y="43"/>
                      <a:pt x="219" y="48"/>
                    </a:cubicBezTo>
                    <a:cubicBezTo>
                      <a:pt x="219" y="52"/>
                      <a:pt x="219" y="52"/>
                      <a:pt x="219" y="52"/>
                    </a:cubicBezTo>
                    <a:cubicBezTo>
                      <a:pt x="208" y="52"/>
                      <a:pt x="208" y="52"/>
                      <a:pt x="208" y="52"/>
                    </a:cubicBezTo>
                    <a:cubicBezTo>
                      <a:pt x="188" y="53"/>
                      <a:pt x="177" y="60"/>
                      <a:pt x="177" y="72"/>
                    </a:cubicBezTo>
                    <a:cubicBezTo>
                      <a:pt x="177" y="78"/>
                      <a:pt x="179" y="83"/>
                      <a:pt x="183" y="86"/>
                    </a:cubicBezTo>
                    <a:cubicBezTo>
                      <a:pt x="186" y="89"/>
                      <a:pt x="191" y="91"/>
                      <a:pt x="197" y="91"/>
                    </a:cubicBezTo>
                    <a:cubicBezTo>
                      <a:pt x="202" y="91"/>
                      <a:pt x="206" y="90"/>
                      <a:pt x="209" y="89"/>
                    </a:cubicBezTo>
                    <a:cubicBezTo>
                      <a:pt x="212" y="88"/>
                      <a:pt x="215" y="85"/>
                      <a:pt x="219" y="81"/>
                    </a:cubicBezTo>
                    <a:cubicBezTo>
                      <a:pt x="219" y="81"/>
                      <a:pt x="219" y="81"/>
                      <a:pt x="219" y="81"/>
                    </a:cubicBezTo>
                    <a:cubicBezTo>
                      <a:pt x="221" y="90"/>
                      <a:pt x="221" y="90"/>
                      <a:pt x="221" y="90"/>
                    </a:cubicBezTo>
                    <a:lnTo>
                      <a:pt x="228" y="90"/>
                    </a:lnTo>
                    <a:close/>
                    <a:moveTo>
                      <a:pt x="161" y="90"/>
                    </a:moveTo>
                    <a:cubicBezTo>
                      <a:pt x="161" y="49"/>
                      <a:pt x="161" y="49"/>
                      <a:pt x="161" y="49"/>
                    </a:cubicBezTo>
                    <a:cubicBezTo>
                      <a:pt x="161" y="41"/>
                      <a:pt x="159" y="35"/>
                      <a:pt x="155" y="31"/>
                    </a:cubicBezTo>
                    <a:cubicBezTo>
                      <a:pt x="152" y="27"/>
                      <a:pt x="146" y="26"/>
                      <a:pt x="139" y="26"/>
                    </a:cubicBezTo>
                    <a:cubicBezTo>
                      <a:pt x="135" y="26"/>
                      <a:pt x="131" y="27"/>
                      <a:pt x="127" y="29"/>
                    </a:cubicBezTo>
                    <a:cubicBezTo>
                      <a:pt x="123" y="30"/>
                      <a:pt x="121" y="33"/>
                      <a:pt x="119" y="36"/>
                    </a:cubicBezTo>
                    <a:cubicBezTo>
                      <a:pt x="118" y="36"/>
                      <a:pt x="118" y="36"/>
                      <a:pt x="118" y="36"/>
                    </a:cubicBezTo>
                    <a:cubicBezTo>
                      <a:pt x="115" y="29"/>
                      <a:pt x="109" y="26"/>
                      <a:pt x="99" y="26"/>
                    </a:cubicBezTo>
                    <a:cubicBezTo>
                      <a:pt x="95" y="26"/>
                      <a:pt x="91" y="27"/>
                      <a:pt x="88" y="28"/>
                    </a:cubicBezTo>
                    <a:cubicBezTo>
                      <a:pt x="85" y="30"/>
                      <a:pt x="82" y="32"/>
                      <a:pt x="80" y="35"/>
                    </a:cubicBezTo>
                    <a:cubicBezTo>
                      <a:pt x="80" y="35"/>
                      <a:pt x="80" y="35"/>
                      <a:pt x="80" y="35"/>
                    </a:cubicBezTo>
                    <a:cubicBezTo>
                      <a:pt x="78" y="27"/>
                      <a:pt x="78" y="27"/>
                      <a:pt x="78" y="27"/>
                    </a:cubicBezTo>
                    <a:cubicBezTo>
                      <a:pt x="71" y="27"/>
                      <a:pt x="71" y="27"/>
                      <a:pt x="71" y="27"/>
                    </a:cubicBezTo>
                    <a:cubicBezTo>
                      <a:pt x="71" y="90"/>
                      <a:pt x="71" y="90"/>
                      <a:pt x="71" y="90"/>
                    </a:cubicBezTo>
                    <a:cubicBezTo>
                      <a:pt x="80" y="90"/>
                      <a:pt x="80" y="90"/>
                      <a:pt x="80" y="90"/>
                    </a:cubicBezTo>
                    <a:cubicBezTo>
                      <a:pt x="80" y="57"/>
                      <a:pt x="80" y="57"/>
                      <a:pt x="80" y="57"/>
                    </a:cubicBezTo>
                    <a:cubicBezTo>
                      <a:pt x="80" y="49"/>
                      <a:pt x="82" y="43"/>
                      <a:pt x="84" y="39"/>
                    </a:cubicBezTo>
                    <a:cubicBezTo>
                      <a:pt x="87" y="36"/>
                      <a:pt x="91" y="34"/>
                      <a:pt x="97" y="34"/>
                    </a:cubicBezTo>
                    <a:cubicBezTo>
                      <a:pt x="102" y="34"/>
                      <a:pt x="105" y="35"/>
                      <a:pt x="108" y="38"/>
                    </a:cubicBezTo>
                    <a:cubicBezTo>
                      <a:pt x="110" y="40"/>
                      <a:pt x="111" y="44"/>
                      <a:pt x="111" y="49"/>
                    </a:cubicBezTo>
                    <a:cubicBezTo>
                      <a:pt x="111" y="90"/>
                      <a:pt x="111" y="90"/>
                      <a:pt x="111" y="90"/>
                    </a:cubicBezTo>
                    <a:cubicBezTo>
                      <a:pt x="120" y="90"/>
                      <a:pt x="120" y="90"/>
                      <a:pt x="120" y="90"/>
                    </a:cubicBezTo>
                    <a:cubicBezTo>
                      <a:pt x="120" y="55"/>
                      <a:pt x="120" y="55"/>
                      <a:pt x="120" y="55"/>
                    </a:cubicBezTo>
                    <a:cubicBezTo>
                      <a:pt x="120" y="48"/>
                      <a:pt x="122" y="42"/>
                      <a:pt x="125" y="39"/>
                    </a:cubicBezTo>
                    <a:cubicBezTo>
                      <a:pt x="127" y="35"/>
                      <a:pt x="132" y="34"/>
                      <a:pt x="138" y="34"/>
                    </a:cubicBezTo>
                    <a:cubicBezTo>
                      <a:pt x="142" y="34"/>
                      <a:pt x="146" y="35"/>
                      <a:pt x="148" y="38"/>
                    </a:cubicBezTo>
                    <a:cubicBezTo>
                      <a:pt x="150" y="40"/>
                      <a:pt x="151" y="44"/>
                      <a:pt x="151" y="49"/>
                    </a:cubicBezTo>
                    <a:cubicBezTo>
                      <a:pt x="151" y="90"/>
                      <a:pt x="151" y="90"/>
                      <a:pt x="151" y="90"/>
                    </a:cubicBezTo>
                    <a:lnTo>
                      <a:pt x="161" y="90"/>
                    </a:lnTo>
                    <a:close/>
                    <a:moveTo>
                      <a:pt x="48" y="53"/>
                    </a:moveTo>
                    <a:cubicBezTo>
                      <a:pt x="45" y="50"/>
                      <a:pt x="39" y="46"/>
                      <a:pt x="30" y="43"/>
                    </a:cubicBezTo>
                    <a:cubicBezTo>
                      <a:pt x="25" y="41"/>
                      <a:pt x="21" y="40"/>
                      <a:pt x="18" y="38"/>
                    </a:cubicBezTo>
                    <a:cubicBezTo>
                      <a:pt x="16" y="37"/>
                      <a:pt x="14" y="35"/>
                      <a:pt x="13" y="33"/>
                    </a:cubicBezTo>
                    <a:cubicBezTo>
                      <a:pt x="12" y="31"/>
                      <a:pt x="11" y="29"/>
                      <a:pt x="11" y="26"/>
                    </a:cubicBezTo>
                    <a:cubicBezTo>
                      <a:pt x="11" y="22"/>
                      <a:pt x="12" y="19"/>
                      <a:pt x="15" y="17"/>
                    </a:cubicBezTo>
                    <a:cubicBezTo>
                      <a:pt x="18" y="14"/>
                      <a:pt x="22" y="13"/>
                      <a:pt x="28" y="13"/>
                    </a:cubicBezTo>
                    <a:cubicBezTo>
                      <a:pt x="34" y="13"/>
                      <a:pt x="41" y="15"/>
                      <a:pt x="48" y="18"/>
                    </a:cubicBezTo>
                    <a:cubicBezTo>
                      <a:pt x="51" y="9"/>
                      <a:pt x="51" y="9"/>
                      <a:pt x="51" y="9"/>
                    </a:cubicBezTo>
                    <a:cubicBezTo>
                      <a:pt x="44" y="6"/>
                      <a:pt x="36" y="5"/>
                      <a:pt x="28" y="5"/>
                    </a:cubicBezTo>
                    <a:cubicBezTo>
                      <a:pt x="20" y="5"/>
                      <a:pt x="13" y="6"/>
                      <a:pt x="8" y="10"/>
                    </a:cubicBezTo>
                    <a:cubicBezTo>
                      <a:pt x="4" y="14"/>
                      <a:pt x="1" y="19"/>
                      <a:pt x="1" y="26"/>
                    </a:cubicBezTo>
                    <a:cubicBezTo>
                      <a:pt x="1" y="32"/>
                      <a:pt x="3" y="37"/>
                      <a:pt x="6" y="41"/>
                    </a:cubicBezTo>
                    <a:cubicBezTo>
                      <a:pt x="9" y="45"/>
                      <a:pt x="15" y="48"/>
                      <a:pt x="23" y="51"/>
                    </a:cubicBezTo>
                    <a:cubicBezTo>
                      <a:pt x="29" y="53"/>
                      <a:pt x="33" y="55"/>
                      <a:pt x="35" y="56"/>
                    </a:cubicBezTo>
                    <a:cubicBezTo>
                      <a:pt x="38" y="58"/>
                      <a:pt x="40" y="59"/>
                      <a:pt x="41" y="61"/>
                    </a:cubicBezTo>
                    <a:cubicBezTo>
                      <a:pt x="43" y="63"/>
                      <a:pt x="43" y="66"/>
                      <a:pt x="43" y="68"/>
                    </a:cubicBezTo>
                    <a:cubicBezTo>
                      <a:pt x="43" y="73"/>
                      <a:pt x="41" y="76"/>
                      <a:pt x="38" y="79"/>
                    </a:cubicBezTo>
                    <a:cubicBezTo>
                      <a:pt x="35" y="81"/>
                      <a:pt x="30" y="83"/>
                      <a:pt x="23" y="83"/>
                    </a:cubicBezTo>
                    <a:cubicBezTo>
                      <a:pt x="19" y="83"/>
                      <a:pt x="15" y="82"/>
                      <a:pt x="11" y="81"/>
                    </a:cubicBezTo>
                    <a:cubicBezTo>
                      <a:pt x="7" y="80"/>
                      <a:pt x="3" y="79"/>
                      <a:pt x="0" y="78"/>
                    </a:cubicBezTo>
                    <a:cubicBezTo>
                      <a:pt x="0" y="87"/>
                      <a:pt x="0" y="87"/>
                      <a:pt x="0" y="87"/>
                    </a:cubicBezTo>
                    <a:cubicBezTo>
                      <a:pt x="5" y="90"/>
                      <a:pt x="13" y="91"/>
                      <a:pt x="23" y="91"/>
                    </a:cubicBezTo>
                    <a:cubicBezTo>
                      <a:pt x="32" y="91"/>
                      <a:pt x="40" y="89"/>
                      <a:pt x="45" y="85"/>
                    </a:cubicBezTo>
                    <a:cubicBezTo>
                      <a:pt x="50" y="81"/>
                      <a:pt x="53" y="75"/>
                      <a:pt x="53" y="68"/>
                    </a:cubicBezTo>
                    <a:cubicBezTo>
                      <a:pt x="53" y="62"/>
                      <a:pt x="51" y="57"/>
                      <a:pt x="48" y="5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36422068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75" r:id="rId1"/>
    <p:sldLayoutId id="2147483966" r:id="rId2"/>
    <p:sldLayoutId id="2147483967" r:id="rId3"/>
    <p:sldLayoutId id="2147483968" r:id="rId4"/>
    <p:sldLayoutId id="2147483969" r:id="rId5"/>
    <p:sldLayoutId id="2147484003" r:id="rId6"/>
    <p:sldLayoutId id="2147484024" r:id="rId7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70000" indent="-270000" algn="l" defTabSz="914400" rtl="0" eaLnBrk="1" latinLnBrk="0" hangingPunct="1">
        <a:lnSpc>
          <a:spcPct val="110000"/>
        </a:lnSpc>
        <a:spcBef>
          <a:spcPts val="0"/>
        </a:spcBef>
        <a:spcAft>
          <a:spcPts val="1000"/>
        </a:spcAft>
        <a:buClr>
          <a:schemeClr val="accent5"/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720000" indent="-270000" algn="l" defTabSz="914400" rtl="0" eaLnBrk="1" latinLnBrk="0" hangingPunct="1">
        <a:lnSpc>
          <a:spcPct val="110000"/>
        </a:lnSpc>
        <a:spcBef>
          <a:spcPts val="0"/>
        </a:spcBef>
        <a:spcAft>
          <a:spcPts val="1000"/>
        </a:spcAft>
        <a:buClr>
          <a:schemeClr val="accent5"/>
        </a:buClr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080000" indent="-270000" algn="l" defTabSz="914400" rtl="0" eaLnBrk="1" latinLnBrk="0" hangingPunct="1">
        <a:lnSpc>
          <a:spcPct val="110000"/>
        </a:lnSpc>
        <a:spcBef>
          <a:spcPts val="0"/>
        </a:spcBef>
        <a:spcAft>
          <a:spcPts val="1000"/>
        </a:spcAft>
        <a:buClr>
          <a:schemeClr val="accent5"/>
        </a:buClr>
        <a:buFont typeface="Arial" panose="020B060402020202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440000" indent="-270000" algn="l" defTabSz="914400" rtl="0" eaLnBrk="1" latinLnBrk="0" hangingPunct="1">
        <a:lnSpc>
          <a:spcPct val="110000"/>
        </a:lnSpc>
        <a:spcBef>
          <a:spcPts val="0"/>
        </a:spcBef>
        <a:spcAft>
          <a:spcPts val="1000"/>
        </a:spcAft>
        <a:buClr>
          <a:schemeClr val="accent5"/>
        </a:buClr>
        <a:buFont typeface="Arial" panose="020B0604020202020204" pitchFamily="34" charset="0"/>
        <a:buChar char="–"/>
        <a:tabLst>
          <a:tab pos="898525" algn="l"/>
        </a:tabLst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1800000" indent="-270000" algn="l" defTabSz="914400" rtl="0" eaLnBrk="1" latinLnBrk="0" hangingPunct="1">
        <a:lnSpc>
          <a:spcPct val="110000"/>
        </a:lnSpc>
        <a:spcBef>
          <a:spcPts val="0"/>
        </a:spcBef>
        <a:spcAft>
          <a:spcPts val="1000"/>
        </a:spcAft>
        <a:buClr>
          <a:schemeClr val="accent5"/>
        </a:buClr>
        <a:buFont typeface="Arial" panose="020B0604020202020204" pitchFamily="34" charset="0"/>
        <a:buChar char="–"/>
        <a:defRPr sz="1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orient="horz" pos="3954">
          <p15:clr>
            <a:srgbClr val="F26B43"/>
          </p15:clr>
        </p15:guide>
        <p15:guide id="3" pos="3839">
          <p15:clr>
            <a:srgbClr val="F26B43"/>
          </p15:clr>
        </p15:guide>
        <p15:guide id="4" pos="339">
          <p15:clr>
            <a:srgbClr val="F26B43"/>
          </p15:clr>
        </p15:guide>
        <p15:guide id="5" pos="7340">
          <p15:clr>
            <a:srgbClr val="F26B43"/>
          </p15:clr>
        </p15:guide>
        <p15:guide id="6" orient="horz" pos="2160">
          <p15:clr>
            <a:srgbClr val="F26B43"/>
          </p15:clr>
        </p15:guide>
        <p15:guide id="7" orient="horz" pos="328">
          <p15:clr>
            <a:srgbClr val="F26B43"/>
          </p15:clr>
        </p15:guide>
        <p15:guide id="8" orient="horz" pos="3662">
          <p15:clr>
            <a:srgbClr val="F26B43"/>
          </p15:clr>
        </p15:guide>
        <p15:guide id="9" orient="horz" pos="954">
          <p15:clr>
            <a:srgbClr val="F26B43"/>
          </p15:clr>
        </p15:guide>
        <p15:guide id="10" orient="horz" pos="2309" userDrawn="1">
          <p15:clr>
            <a:srgbClr val="9FCC3B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8" name="Gruppieren 27">
            <a:extLst>
              <a:ext uri="{FF2B5EF4-FFF2-40B4-BE49-F238E27FC236}">
                <a16:creationId xmlns:a16="http://schemas.microsoft.com/office/drawing/2014/main" id="{DB875A71-D571-4BF9-944F-63A78C9A7736}"/>
              </a:ext>
            </a:extLst>
          </p:cNvPr>
          <p:cNvGrpSpPr>
            <a:grpSpLocks noChangeAspect="1"/>
          </p:cNvGrpSpPr>
          <p:nvPr userDrawn="1"/>
        </p:nvGrpSpPr>
        <p:grpSpPr bwMode="gray">
          <a:xfrm>
            <a:off x="-2647" y="533519"/>
            <a:ext cx="378910" cy="296159"/>
            <a:chOff x="1009650" y="6149976"/>
            <a:chExt cx="552451" cy="431800"/>
          </a:xfrm>
          <a:solidFill>
            <a:schemeClr val="accent1"/>
          </a:solidFill>
        </p:grpSpPr>
        <p:sp>
          <p:nvSpPr>
            <p:cNvPr id="29" name="Rectangle 5">
              <a:extLst>
                <a:ext uri="{FF2B5EF4-FFF2-40B4-BE49-F238E27FC236}">
                  <a16:creationId xmlns:a16="http://schemas.microsoft.com/office/drawing/2014/main" id="{177AE721-3A80-4984-A2E9-B0A5D3351E11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1501775" y="6149976"/>
              <a:ext cx="60325" cy="603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0" name="Rectangle 6">
              <a:extLst>
                <a:ext uri="{FF2B5EF4-FFF2-40B4-BE49-F238E27FC236}">
                  <a16:creationId xmlns:a16="http://schemas.microsoft.com/office/drawing/2014/main" id="{DAC459F1-C854-404C-8F3D-6B8C4E85EFF1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1255713" y="6149976"/>
              <a:ext cx="60325" cy="603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1" name="Freeform 7">
              <a:extLst>
                <a:ext uri="{FF2B5EF4-FFF2-40B4-BE49-F238E27FC236}">
                  <a16:creationId xmlns:a16="http://schemas.microsoft.com/office/drawing/2014/main" id="{C056C197-5F0C-4D9A-949F-C3B8BC4ED285}"/>
                </a:ext>
              </a:extLst>
            </p:cNvPr>
            <p:cNvSpPr>
              <a:spLocks noEditPoints="1"/>
            </p:cNvSpPr>
            <p:nvPr userDrawn="1"/>
          </p:nvSpPr>
          <p:spPr bwMode="gray">
            <a:xfrm>
              <a:off x="1009650" y="6149976"/>
              <a:ext cx="430213" cy="431800"/>
            </a:xfrm>
            <a:custGeom>
              <a:avLst/>
              <a:gdLst>
                <a:gd name="T0" fmla="*/ 271 w 271"/>
                <a:gd name="T1" fmla="*/ 77 h 272"/>
                <a:gd name="T2" fmla="*/ 271 w 271"/>
                <a:gd name="T3" fmla="*/ 38 h 272"/>
                <a:gd name="T4" fmla="*/ 193 w 271"/>
                <a:gd name="T5" fmla="*/ 38 h 272"/>
                <a:gd name="T6" fmla="*/ 193 w 271"/>
                <a:gd name="T7" fmla="*/ 77 h 272"/>
                <a:gd name="T8" fmla="*/ 155 w 271"/>
                <a:gd name="T9" fmla="*/ 77 h 272"/>
                <a:gd name="T10" fmla="*/ 155 w 271"/>
                <a:gd name="T11" fmla="*/ 38 h 272"/>
                <a:gd name="T12" fmla="*/ 116 w 271"/>
                <a:gd name="T13" fmla="*/ 38 h 272"/>
                <a:gd name="T14" fmla="*/ 116 w 271"/>
                <a:gd name="T15" fmla="*/ 0 h 272"/>
                <a:gd name="T16" fmla="*/ 0 w 271"/>
                <a:gd name="T17" fmla="*/ 0 h 272"/>
                <a:gd name="T18" fmla="*/ 0 w 271"/>
                <a:gd name="T19" fmla="*/ 38 h 272"/>
                <a:gd name="T20" fmla="*/ 38 w 271"/>
                <a:gd name="T21" fmla="*/ 38 h 272"/>
                <a:gd name="T22" fmla="*/ 38 w 271"/>
                <a:gd name="T23" fmla="*/ 77 h 272"/>
                <a:gd name="T24" fmla="*/ 0 w 271"/>
                <a:gd name="T25" fmla="*/ 77 h 272"/>
                <a:gd name="T26" fmla="*/ 0 w 271"/>
                <a:gd name="T27" fmla="*/ 272 h 272"/>
                <a:gd name="T28" fmla="*/ 77 w 271"/>
                <a:gd name="T29" fmla="*/ 272 h 272"/>
                <a:gd name="T30" fmla="*/ 77 w 271"/>
                <a:gd name="T31" fmla="*/ 233 h 272"/>
                <a:gd name="T32" fmla="*/ 116 w 271"/>
                <a:gd name="T33" fmla="*/ 233 h 272"/>
                <a:gd name="T34" fmla="*/ 116 w 271"/>
                <a:gd name="T35" fmla="*/ 272 h 272"/>
                <a:gd name="T36" fmla="*/ 155 w 271"/>
                <a:gd name="T37" fmla="*/ 272 h 272"/>
                <a:gd name="T38" fmla="*/ 155 w 271"/>
                <a:gd name="T39" fmla="*/ 193 h 272"/>
                <a:gd name="T40" fmla="*/ 116 w 271"/>
                <a:gd name="T41" fmla="*/ 193 h 272"/>
                <a:gd name="T42" fmla="*/ 116 w 271"/>
                <a:gd name="T43" fmla="*/ 155 h 272"/>
                <a:gd name="T44" fmla="*/ 155 w 271"/>
                <a:gd name="T45" fmla="*/ 155 h 272"/>
                <a:gd name="T46" fmla="*/ 155 w 271"/>
                <a:gd name="T47" fmla="*/ 116 h 272"/>
                <a:gd name="T48" fmla="*/ 193 w 271"/>
                <a:gd name="T49" fmla="*/ 116 h 272"/>
                <a:gd name="T50" fmla="*/ 193 w 271"/>
                <a:gd name="T51" fmla="*/ 155 h 272"/>
                <a:gd name="T52" fmla="*/ 155 w 271"/>
                <a:gd name="T53" fmla="*/ 155 h 272"/>
                <a:gd name="T54" fmla="*/ 155 w 271"/>
                <a:gd name="T55" fmla="*/ 193 h 272"/>
                <a:gd name="T56" fmla="*/ 232 w 271"/>
                <a:gd name="T57" fmla="*/ 193 h 272"/>
                <a:gd name="T58" fmla="*/ 232 w 271"/>
                <a:gd name="T59" fmla="*/ 155 h 272"/>
                <a:gd name="T60" fmla="*/ 271 w 271"/>
                <a:gd name="T61" fmla="*/ 155 h 272"/>
                <a:gd name="T62" fmla="*/ 271 w 271"/>
                <a:gd name="T63" fmla="*/ 116 h 272"/>
                <a:gd name="T64" fmla="*/ 232 w 271"/>
                <a:gd name="T65" fmla="*/ 116 h 272"/>
                <a:gd name="T66" fmla="*/ 232 w 271"/>
                <a:gd name="T67" fmla="*/ 77 h 272"/>
                <a:gd name="T68" fmla="*/ 271 w 271"/>
                <a:gd name="T69" fmla="*/ 77 h 272"/>
                <a:gd name="T70" fmla="*/ 77 w 271"/>
                <a:gd name="T71" fmla="*/ 193 h 272"/>
                <a:gd name="T72" fmla="*/ 38 w 271"/>
                <a:gd name="T73" fmla="*/ 193 h 272"/>
                <a:gd name="T74" fmla="*/ 38 w 271"/>
                <a:gd name="T75" fmla="*/ 155 h 272"/>
                <a:gd name="T76" fmla="*/ 77 w 271"/>
                <a:gd name="T77" fmla="*/ 155 h 272"/>
                <a:gd name="T78" fmla="*/ 77 w 271"/>
                <a:gd name="T79" fmla="*/ 193 h 272"/>
                <a:gd name="T80" fmla="*/ 116 w 271"/>
                <a:gd name="T81" fmla="*/ 116 h 272"/>
                <a:gd name="T82" fmla="*/ 77 w 271"/>
                <a:gd name="T83" fmla="*/ 116 h 272"/>
                <a:gd name="T84" fmla="*/ 77 w 271"/>
                <a:gd name="T85" fmla="*/ 77 h 272"/>
                <a:gd name="T86" fmla="*/ 116 w 271"/>
                <a:gd name="T87" fmla="*/ 77 h 272"/>
                <a:gd name="T88" fmla="*/ 116 w 271"/>
                <a:gd name="T89" fmla="*/ 116 h 2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271" h="272">
                  <a:moveTo>
                    <a:pt x="271" y="77"/>
                  </a:moveTo>
                  <a:lnTo>
                    <a:pt x="271" y="38"/>
                  </a:lnTo>
                  <a:lnTo>
                    <a:pt x="193" y="38"/>
                  </a:lnTo>
                  <a:lnTo>
                    <a:pt x="193" y="77"/>
                  </a:lnTo>
                  <a:lnTo>
                    <a:pt x="155" y="77"/>
                  </a:lnTo>
                  <a:lnTo>
                    <a:pt x="155" y="38"/>
                  </a:lnTo>
                  <a:lnTo>
                    <a:pt x="116" y="38"/>
                  </a:lnTo>
                  <a:lnTo>
                    <a:pt x="116" y="0"/>
                  </a:lnTo>
                  <a:lnTo>
                    <a:pt x="0" y="0"/>
                  </a:lnTo>
                  <a:lnTo>
                    <a:pt x="0" y="38"/>
                  </a:lnTo>
                  <a:lnTo>
                    <a:pt x="38" y="38"/>
                  </a:lnTo>
                  <a:lnTo>
                    <a:pt x="38" y="77"/>
                  </a:lnTo>
                  <a:lnTo>
                    <a:pt x="0" y="77"/>
                  </a:lnTo>
                  <a:lnTo>
                    <a:pt x="0" y="272"/>
                  </a:lnTo>
                  <a:lnTo>
                    <a:pt x="77" y="272"/>
                  </a:lnTo>
                  <a:lnTo>
                    <a:pt x="77" y="233"/>
                  </a:lnTo>
                  <a:lnTo>
                    <a:pt x="116" y="233"/>
                  </a:lnTo>
                  <a:lnTo>
                    <a:pt x="116" y="272"/>
                  </a:lnTo>
                  <a:lnTo>
                    <a:pt x="155" y="272"/>
                  </a:lnTo>
                  <a:lnTo>
                    <a:pt x="155" y="193"/>
                  </a:lnTo>
                  <a:lnTo>
                    <a:pt x="116" y="193"/>
                  </a:lnTo>
                  <a:lnTo>
                    <a:pt x="116" y="155"/>
                  </a:lnTo>
                  <a:lnTo>
                    <a:pt x="155" y="155"/>
                  </a:lnTo>
                  <a:lnTo>
                    <a:pt x="155" y="116"/>
                  </a:lnTo>
                  <a:lnTo>
                    <a:pt x="193" y="116"/>
                  </a:lnTo>
                  <a:lnTo>
                    <a:pt x="193" y="155"/>
                  </a:lnTo>
                  <a:lnTo>
                    <a:pt x="155" y="155"/>
                  </a:lnTo>
                  <a:lnTo>
                    <a:pt x="155" y="193"/>
                  </a:lnTo>
                  <a:lnTo>
                    <a:pt x="232" y="193"/>
                  </a:lnTo>
                  <a:lnTo>
                    <a:pt x="232" y="155"/>
                  </a:lnTo>
                  <a:lnTo>
                    <a:pt x="271" y="155"/>
                  </a:lnTo>
                  <a:lnTo>
                    <a:pt x="271" y="116"/>
                  </a:lnTo>
                  <a:lnTo>
                    <a:pt x="232" y="116"/>
                  </a:lnTo>
                  <a:lnTo>
                    <a:pt x="232" y="77"/>
                  </a:lnTo>
                  <a:lnTo>
                    <a:pt x="271" y="77"/>
                  </a:lnTo>
                  <a:close/>
                  <a:moveTo>
                    <a:pt x="77" y="193"/>
                  </a:moveTo>
                  <a:lnTo>
                    <a:pt x="38" y="193"/>
                  </a:lnTo>
                  <a:lnTo>
                    <a:pt x="38" y="155"/>
                  </a:lnTo>
                  <a:lnTo>
                    <a:pt x="77" y="155"/>
                  </a:lnTo>
                  <a:lnTo>
                    <a:pt x="77" y="193"/>
                  </a:lnTo>
                  <a:close/>
                  <a:moveTo>
                    <a:pt x="116" y="116"/>
                  </a:moveTo>
                  <a:lnTo>
                    <a:pt x="77" y="116"/>
                  </a:lnTo>
                  <a:lnTo>
                    <a:pt x="77" y="77"/>
                  </a:lnTo>
                  <a:lnTo>
                    <a:pt x="116" y="77"/>
                  </a:lnTo>
                  <a:lnTo>
                    <a:pt x="116" y="11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2" name="Rectangle 8">
              <a:extLst>
                <a:ext uri="{FF2B5EF4-FFF2-40B4-BE49-F238E27FC236}">
                  <a16:creationId xmlns:a16="http://schemas.microsoft.com/office/drawing/2014/main" id="{BD4A9682-42DE-478C-82EE-303CDFF44306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1439863" y="6272213"/>
              <a:ext cx="61913" cy="619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3" name="Rectangle 9">
              <a:extLst>
                <a:ext uri="{FF2B5EF4-FFF2-40B4-BE49-F238E27FC236}">
                  <a16:creationId xmlns:a16="http://schemas.microsoft.com/office/drawing/2014/main" id="{B45C175C-1A49-4600-BECD-FA73DB96ADC1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1501775" y="6334126"/>
              <a:ext cx="60325" cy="619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4" name="Freeform 10">
              <a:extLst>
                <a:ext uri="{FF2B5EF4-FFF2-40B4-BE49-F238E27FC236}">
                  <a16:creationId xmlns:a16="http://schemas.microsoft.com/office/drawing/2014/main" id="{5AC9558D-5ED1-441C-BD66-46C80A6A89A0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1439863" y="6456363"/>
              <a:ext cx="122238" cy="125413"/>
            </a:xfrm>
            <a:custGeom>
              <a:avLst/>
              <a:gdLst>
                <a:gd name="T0" fmla="*/ 39 w 77"/>
                <a:gd name="T1" fmla="*/ 0 h 79"/>
                <a:gd name="T2" fmla="*/ 0 w 77"/>
                <a:gd name="T3" fmla="*/ 0 h 79"/>
                <a:gd name="T4" fmla="*/ 0 w 77"/>
                <a:gd name="T5" fmla="*/ 40 h 79"/>
                <a:gd name="T6" fmla="*/ 39 w 77"/>
                <a:gd name="T7" fmla="*/ 40 h 79"/>
                <a:gd name="T8" fmla="*/ 39 w 77"/>
                <a:gd name="T9" fmla="*/ 79 h 79"/>
                <a:gd name="T10" fmla="*/ 77 w 77"/>
                <a:gd name="T11" fmla="*/ 79 h 79"/>
                <a:gd name="T12" fmla="*/ 77 w 77"/>
                <a:gd name="T13" fmla="*/ 40 h 79"/>
                <a:gd name="T14" fmla="*/ 39 w 77"/>
                <a:gd name="T15" fmla="*/ 40 h 79"/>
                <a:gd name="T16" fmla="*/ 39 w 77"/>
                <a:gd name="T17" fmla="*/ 0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7" h="79">
                  <a:moveTo>
                    <a:pt x="39" y="0"/>
                  </a:moveTo>
                  <a:lnTo>
                    <a:pt x="0" y="0"/>
                  </a:lnTo>
                  <a:lnTo>
                    <a:pt x="0" y="40"/>
                  </a:lnTo>
                  <a:lnTo>
                    <a:pt x="39" y="40"/>
                  </a:lnTo>
                  <a:lnTo>
                    <a:pt x="39" y="79"/>
                  </a:lnTo>
                  <a:lnTo>
                    <a:pt x="77" y="79"/>
                  </a:lnTo>
                  <a:lnTo>
                    <a:pt x="77" y="40"/>
                  </a:lnTo>
                  <a:lnTo>
                    <a:pt x="39" y="40"/>
                  </a:lnTo>
                  <a:lnTo>
                    <a:pt x="39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5" name="Rectangle 11">
              <a:extLst>
                <a:ext uri="{FF2B5EF4-FFF2-40B4-BE49-F238E27FC236}">
                  <a16:creationId xmlns:a16="http://schemas.microsoft.com/office/drawing/2014/main" id="{5937B19F-128C-417F-A628-1C6272216E87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1316038" y="6519863"/>
              <a:ext cx="61913" cy="619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  <p:grpSp>
        <p:nvGrpSpPr>
          <p:cNvPr id="17" name="Gruppieren 16">
            <a:extLst>
              <a:ext uri="{FF2B5EF4-FFF2-40B4-BE49-F238E27FC236}">
                <a16:creationId xmlns:a16="http://schemas.microsoft.com/office/drawing/2014/main" id="{241B0546-C85D-40DF-93A5-30E175102912}"/>
              </a:ext>
            </a:extLst>
          </p:cNvPr>
          <p:cNvGrpSpPr/>
          <p:nvPr userDrawn="1"/>
        </p:nvGrpSpPr>
        <p:grpSpPr bwMode="gray">
          <a:xfrm>
            <a:off x="10059991" y="523875"/>
            <a:ext cx="1589088" cy="593725"/>
            <a:chOff x="10059991" y="523875"/>
            <a:chExt cx="1589088" cy="593725"/>
          </a:xfrm>
        </p:grpSpPr>
        <p:pic>
          <p:nvPicPr>
            <p:cNvPr id="18" name="Grafik 17">
              <a:extLst>
                <a:ext uri="{FF2B5EF4-FFF2-40B4-BE49-F238E27FC236}">
                  <a16:creationId xmlns:a16="http://schemas.microsoft.com/office/drawing/2014/main" id="{B852F357-19DC-46CA-87C9-733F41E821B6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8"/>
            <a:srcRect b="11159"/>
            <a:stretch/>
          </p:blipFill>
          <p:spPr bwMode="gray">
            <a:xfrm>
              <a:off x="10521315" y="859154"/>
              <a:ext cx="59055" cy="60961"/>
            </a:xfrm>
            <a:prstGeom prst="rect">
              <a:avLst/>
            </a:prstGeom>
          </p:spPr>
        </p:pic>
        <p:grpSp>
          <p:nvGrpSpPr>
            <p:cNvPr id="19" name="Group 4">
              <a:extLst>
                <a:ext uri="{FF2B5EF4-FFF2-40B4-BE49-F238E27FC236}">
                  <a16:creationId xmlns:a16="http://schemas.microsoft.com/office/drawing/2014/main" id="{773CE13B-A03D-4A38-B7F9-5A7418899850}"/>
                </a:ext>
              </a:extLst>
            </p:cNvPr>
            <p:cNvGrpSpPr>
              <a:grpSpLocks noChangeAspect="1"/>
            </p:cNvGrpSpPr>
            <p:nvPr userDrawn="1"/>
          </p:nvGrpSpPr>
          <p:grpSpPr bwMode="gray">
            <a:xfrm>
              <a:off x="10059991" y="523875"/>
              <a:ext cx="1589088" cy="593725"/>
              <a:chOff x="6337" y="330"/>
              <a:chExt cx="1001" cy="374"/>
            </a:xfrm>
            <a:solidFill>
              <a:schemeClr val="accent1"/>
            </a:solidFill>
          </p:grpSpPr>
          <p:sp>
            <p:nvSpPr>
              <p:cNvPr id="20" name="Freeform 5">
                <a:extLst>
                  <a:ext uri="{FF2B5EF4-FFF2-40B4-BE49-F238E27FC236}">
                    <a16:creationId xmlns:a16="http://schemas.microsoft.com/office/drawing/2014/main" id="{AFF4A159-C87E-4A03-AFBB-D9C7E610D559}"/>
                  </a:ext>
                </a:extLst>
              </p:cNvPr>
              <p:cNvSpPr>
                <a:spLocks noEditPoints="1"/>
              </p:cNvSpPr>
              <p:nvPr userDrawn="1"/>
            </p:nvSpPr>
            <p:spPr bwMode="gray">
              <a:xfrm>
                <a:off x="6340" y="388"/>
                <a:ext cx="997" cy="195"/>
              </a:xfrm>
              <a:custGeom>
                <a:avLst/>
                <a:gdLst>
                  <a:gd name="T0" fmla="*/ 236 w 1284"/>
                  <a:gd name="T1" fmla="*/ 17 h 250"/>
                  <a:gd name="T2" fmla="*/ 98 w 1284"/>
                  <a:gd name="T3" fmla="*/ 17 h 250"/>
                  <a:gd name="T4" fmla="*/ 0 w 1284"/>
                  <a:gd name="T5" fmla="*/ 116 h 250"/>
                  <a:gd name="T6" fmla="*/ 56 w 1284"/>
                  <a:gd name="T7" fmla="*/ 244 h 250"/>
                  <a:gd name="T8" fmla="*/ 68 w 1284"/>
                  <a:gd name="T9" fmla="*/ 81 h 250"/>
                  <a:gd name="T10" fmla="*/ 128 w 1284"/>
                  <a:gd name="T11" fmla="*/ 81 h 250"/>
                  <a:gd name="T12" fmla="*/ 139 w 1284"/>
                  <a:gd name="T13" fmla="*/ 116 h 250"/>
                  <a:gd name="T14" fmla="*/ 196 w 1284"/>
                  <a:gd name="T15" fmla="*/ 244 h 250"/>
                  <a:gd name="T16" fmla="*/ 195 w 1284"/>
                  <a:gd name="T17" fmla="*/ 107 h 250"/>
                  <a:gd name="T18" fmla="*/ 236 w 1284"/>
                  <a:gd name="T19" fmla="*/ 69 h 250"/>
                  <a:gd name="T20" fmla="*/ 279 w 1284"/>
                  <a:gd name="T21" fmla="*/ 112 h 250"/>
                  <a:gd name="T22" fmla="*/ 335 w 1284"/>
                  <a:gd name="T23" fmla="*/ 244 h 250"/>
                  <a:gd name="T24" fmla="*/ 307 w 1284"/>
                  <a:gd name="T25" fmla="*/ 44 h 250"/>
                  <a:gd name="T26" fmla="*/ 477 w 1284"/>
                  <a:gd name="T27" fmla="*/ 129 h 250"/>
                  <a:gd name="T28" fmla="*/ 485 w 1284"/>
                  <a:gd name="T29" fmla="*/ 120 h 250"/>
                  <a:gd name="T30" fmla="*/ 477 w 1284"/>
                  <a:gd name="T31" fmla="*/ 102 h 250"/>
                  <a:gd name="T32" fmla="*/ 486 w 1284"/>
                  <a:gd name="T33" fmla="*/ 111 h 250"/>
                  <a:gd name="T34" fmla="*/ 477 w 1284"/>
                  <a:gd name="T35" fmla="*/ 102 h 250"/>
                  <a:gd name="T36" fmla="*/ 506 w 1284"/>
                  <a:gd name="T37" fmla="*/ 103 h 250"/>
                  <a:gd name="T38" fmla="*/ 515 w 1284"/>
                  <a:gd name="T39" fmla="*/ 95 h 250"/>
                  <a:gd name="T40" fmla="*/ 455 w 1284"/>
                  <a:gd name="T41" fmla="*/ 88 h 250"/>
                  <a:gd name="T42" fmla="*/ 463 w 1284"/>
                  <a:gd name="T43" fmla="*/ 94 h 250"/>
                  <a:gd name="T44" fmla="*/ 455 w 1284"/>
                  <a:gd name="T45" fmla="*/ 88 h 250"/>
                  <a:gd name="T46" fmla="*/ 493 w 1284"/>
                  <a:gd name="T47" fmla="*/ 120 h 250"/>
                  <a:gd name="T48" fmla="*/ 501 w 1284"/>
                  <a:gd name="T49" fmla="*/ 112 h 250"/>
                  <a:gd name="T50" fmla="*/ 491 w 1284"/>
                  <a:gd name="T51" fmla="*/ 136 h 250"/>
                  <a:gd name="T52" fmla="*/ 500 w 1284"/>
                  <a:gd name="T53" fmla="*/ 144 h 250"/>
                  <a:gd name="T54" fmla="*/ 491 w 1284"/>
                  <a:gd name="T55" fmla="*/ 136 h 250"/>
                  <a:gd name="T56" fmla="*/ 892 w 1284"/>
                  <a:gd name="T57" fmla="*/ 0 h 250"/>
                  <a:gd name="T58" fmla="*/ 766 w 1284"/>
                  <a:gd name="T59" fmla="*/ 124 h 250"/>
                  <a:gd name="T60" fmla="*/ 892 w 1284"/>
                  <a:gd name="T61" fmla="*/ 249 h 250"/>
                  <a:gd name="T62" fmla="*/ 1019 w 1284"/>
                  <a:gd name="T63" fmla="*/ 124 h 250"/>
                  <a:gd name="T64" fmla="*/ 942 w 1284"/>
                  <a:gd name="T65" fmla="*/ 177 h 250"/>
                  <a:gd name="T66" fmla="*/ 842 w 1284"/>
                  <a:gd name="T67" fmla="*/ 177 h 250"/>
                  <a:gd name="T68" fmla="*/ 842 w 1284"/>
                  <a:gd name="T69" fmla="*/ 72 h 250"/>
                  <a:gd name="T70" fmla="*/ 942 w 1284"/>
                  <a:gd name="T71" fmla="*/ 72 h 250"/>
                  <a:gd name="T72" fmla="*/ 942 w 1284"/>
                  <a:gd name="T73" fmla="*/ 177 h 250"/>
                  <a:gd name="T74" fmla="*/ 1244 w 1284"/>
                  <a:gd name="T75" fmla="*/ 164 h 250"/>
                  <a:gd name="T76" fmla="*/ 1132 w 1284"/>
                  <a:gd name="T77" fmla="*/ 177 h 250"/>
                  <a:gd name="T78" fmla="*/ 1132 w 1284"/>
                  <a:gd name="T79" fmla="*/ 72 h 250"/>
                  <a:gd name="T80" fmla="*/ 1244 w 1284"/>
                  <a:gd name="T81" fmla="*/ 86 h 250"/>
                  <a:gd name="T82" fmla="*/ 1284 w 1284"/>
                  <a:gd name="T83" fmla="*/ 57 h 250"/>
                  <a:gd name="T84" fmla="*/ 1242 w 1284"/>
                  <a:gd name="T85" fmla="*/ 15 h 250"/>
                  <a:gd name="T86" fmla="*/ 1093 w 1284"/>
                  <a:gd name="T87" fmla="*/ 36 h 250"/>
                  <a:gd name="T88" fmla="*/ 1093 w 1284"/>
                  <a:gd name="T89" fmla="*/ 213 h 250"/>
                  <a:gd name="T90" fmla="*/ 1283 w 1284"/>
                  <a:gd name="T91" fmla="*/ 194 h 250"/>
                  <a:gd name="T92" fmla="*/ 1245 w 1284"/>
                  <a:gd name="T93" fmla="*/ 162 h 2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1284" h="250">
                    <a:moveTo>
                      <a:pt x="307" y="44"/>
                    </a:moveTo>
                    <a:cubicBezTo>
                      <a:pt x="287" y="25"/>
                      <a:pt x="263" y="17"/>
                      <a:pt x="236" y="17"/>
                    </a:cubicBezTo>
                    <a:cubicBezTo>
                      <a:pt x="210" y="17"/>
                      <a:pt x="187" y="25"/>
                      <a:pt x="167" y="44"/>
                    </a:cubicBezTo>
                    <a:cubicBezTo>
                      <a:pt x="148" y="25"/>
                      <a:pt x="125" y="17"/>
                      <a:pt x="98" y="17"/>
                    </a:cubicBezTo>
                    <a:cubicBezTo>
                      <a:pt x="71" y="17"/>
                      <a:pt x="48" y="25"/>
                      <a:pt x="28" y="44"/>
                    </a:cubicBezTo>
                    <a:cubicBezTo>
                      <a:pt x="8" y="63"/>
                      <a:pt x="0" y="88"/>
                      <a:pt x="0" y="116"/>
                    </a:cubicBezTo>
                    <a:cubicBezTo>
                      <a:pt x="0" y="244"/>
                      <a:pt x="0" y="244"/>
                      <a:pt x="0" y="244"/>
                    </a:cubicBezTo>
                    <a:cubicBezTo>
                      <a:pt x="56" y="244"/>
                      <a:pt x="56" y="244"/>
                      <a:pt x="56" y="244"/>
                    </a:cubicBezTo>
                    <a:cubicBezTo>
                      <a:pt x="56" y="112"/>
                      <a:pt x="56" y="112"/>
                      <a:pt x="56" y="112"/>
                    </a:cubicBezTo>
                    <a:cubicBezTo>
                      <a:pt x="56" y="100"/>
                      <a:pt x="59" y="89"/>
                      <a:pt x="68" y="81"/>
                    </a:cubicBezTo>
                    <a:cubicBezTo>
                      <a:pt x="76" y="73"/>
                      <a:pt x="87" y="69"/>
                      <a:pt x="98" y="69"/>
                    </a:cubicBezTo>
                    <a:cubicBezTo>
                      <a:pt x="110" y="69"/>
                      <a:pt x="120" y="73"/>
                      <a:pt x="128" y="81"/>
                    </a:cubicBezTo>
                    <a:cubicBezTo>
                      <a:pt x="135" y="88"/>
                      <a:pt x="139" y="97"/>
                      <a:pt x="140" y="107"/>
                    </a:cubicBezTo>
                    <a:cubicBezTo>
                      <a:pt x="140" y="110"/>
                      <a:pt x="139" y="113"/>
                      <a:pt x="139" y="116"/>
                    </a:cubicBezTo>
                    <a:cubicBezTo>
                      <a:pt x="139" y="244"/>
                      <a:pt x="139" y="244"/>
                      <a:pt x="139" y="244"/>
                    </a:cubicBezTo>
                    <a:cubicBezTo>
                      <a:pt x="196" y="244"/>
                      <a:pt x="196" y="244"/>
                      <a:pt x="196" y="244"/>
                    </a:cubicBezTo>
                    <a:cubicBezTo>
                      <a:pt x="196" y="116"/>
                      <a:pt x="196" y="116"/>
                      <a:pt x="196" y="116"/>
                    </a:cubicBezTo>
                    <a:cubicBezTo>
                      <a:pt x="196" y="113"/>
                      <a:pt x="195" y="110"/>
                      <a:pt x="195" y="107"/>
                    </a:cubicBezTo>
                    <a:cubicBezTo>
                      <a:pt x="195" y="97"/>
                      <a:pt x="200" y="88"/>
                      <a:pt x="207" y="81"/>
                    </a:cubicBezTo>
                    <a:cubicBezTo>
                      <a:pt x="215" y="73"/>
                      <a:pt x="225" y="69"/>
                      <a:pt x="236" y="69"/>
                    </a:cubicBezTo>
                    <a:cubicBezTo>
                      <a:pt x="248" y="69"/>
                      <a:pt x="259" y="73"/>
                      <a:pt x="267" y="81"/>
                    </a:cubicBezTo>
                    <a:cubicBezTo>
                      <a:pt x="276" y="89"/>
                      <a:pt x="279" y="100"/>
                      <a:pt x="279" y="112"/>
                    </a:cubicBezTo>
                    <a:cubicBezTo>
                      <a:pt x="279" y="244"/>
                      <a:pt x="279" y="244"/>
                      <a:pt x="279" y="244"/>
                    </a:cubicBezTo>
                    <a:cubicBezTo>
                      <a:pt x="335" y="244"/>
                      <a:pt x="335" y="244"/>
                      <a:pt x="335" y="244"/>
                    </a:cubicBezTo>
                    <a:cubicBezTo>
                      <a:pt x="335" y="117"/>
                      <a:pt x="335" y="117"/>
                      <a:pt x="335" y="117"/>
                    </a:cubicBezTo>
                    <a:cubicBezTo>
                      <a:pt x="335" y="90"/>
                      <a:pt x="327" y="63"/>
                      <a:pt x="307" y="44"/>
                    </a:cubicBezTo>
                    <a:close/>
                    <a:moveTo>
                      <a:pt x="477" y="120"/>
                    </a:moveTo>
                    <a:cubicBezTo>
                      <a:pt x="477" y="129"/>
                      <a:pt x="477" y="129"/>
                      <a:pt x="477" y="129"/>
                    </a:cubicBezTo>
                    <a:cubicBezTo>
                      <a:pt x="485" y="129"/>
                      <a:pt x="485" y="129"/>
                      <a:pt x="485" y="129"/>
                    </a:cubicBezTo>
                    <a:cubicBezTo>
                      <a:pt x="485" y="120"/>
                      <a:pt x="485" y="120"/>
                      <a:pt x="485" y="120"/>
                    </a:cubicBezTo>
                    <a:lnTo>
                      <a:pt x="477" y="120"/>
                    </a:lnTo>
                    <a:close/>
                    <a:moveTo>
                      <a:pt x="477" y="102"/>
                    </a:moveTo>
                    <a:cubicBezTo>
                      <a:pt x="477" y="111"/>
                      <a:pt x="477" y="111"/>
                      <a:pt x="477" y="111"/>
                    </a:cubicBezTo>
                    <a:cubicBezTo>
                      <a:pt x="486" y="111"/>
                      <a:pt x="486" y="111"/>
                      <a:pt x="486" y="111"/>
                    </a:cubicBezTo>
                    <a:cubicBezTo>
                      <a:pt x="486" y="102"/>
                      <a:pt x="486" y="102"/>
                      <a:pt x="486" y="102"/>
                    </a:cubicBezTo>
                    <a:lnTo>
                      <a:pt x="477" y="102"/>
                    </a:lnTo>
                    <a:close/>
                    <a:moveTo>
                      <a:pt x="506" y="95"/>
                    </a:moveTo>
                    <a:cubicBezTo>
                      <a:pt x="506" y="103"/>
                      <a:pt x="506" y="103"/>
                      <a:pt x="506" y="103"/>
                    </a:cubicBezTo>
                    <a:cubicBezTo>
                      <a:pt x="515" y="103"/>
                      <a:pt x="515" y="103"/>
                      <a:pt x="515" y="103"/>
                    </a:cubicBezTo>
                    <a:cubicBezTo>
                      <a:pt x="515" y="95"/>
                      <a:pt x="515" y="95"/>
                      <a:pt x="515" y="95"/>
                    </a:cubicBezTo>
                    <a:lnTo>
                      <a:pt x="506" y="95"/>
                    </a:lnTo>
                    <a:close/>
                    <a:moveTo>
                      <a:pt x="455" y="88"/>
                    </a:moveTo>
                    <a:cubicBezTo>
                      <a:pt x="455" y="94"/>
                      <a:pt x="455" y="94"/>
                      <a:pt x="455" y="94"/>
                    </a:cubicBezTo>
                    <a:cubicBezTo>
                      <a:pt x="463" y="94"/>
                      <a:pt x="463" y="94"/>
                      <a:pt x="463" y="94"/>
                    </a:cubicBezTo>
                    <a:cubicBezTo>
                      <a:pt x="463" y="88"/>
                      <a:pt x="463" y="88"/>
                      <a:pt x="463" y="88"/>
                    </a:cubicBezTo>
                    <a:lnTo>
                      <a:pt x="455" y="88"/>
                    </a:lnTo>
                    <a:close/>
                    <a:moveTo>
                      <a:pt x="493" y="112"/>
                    </a:moveTo>
                    <a:cubicBezTo>
                      <a:pt x="493" y="120"/>
                      <a:pt x="493" y="120"/>
                      <a:pt x="493" y="120"/>
                    </a:cubicBezTo>
                    <a:cubicBezTo>
                      <a:pt x="501" y="120"/>
                      <a:pt x="501" y="120"/>
                      <a:pt x="501" y="120"/>
                    </a:cubicBezTo>
                    <a:cubicBezTo>
                      <a:pt x="501" y="112"/>
                      <a:pt x="501" y="112"/>
                      <a:pt x="501" y="112"/>
                    </a:cubicBezTo>
                    <a:lnTo>
                      <a:pt x="493" y="112"/>
                    </a:lnTo>
                    <a:close/>
                    <a:moveTo>
                      <a:pt x="491" y="136"/>
                    </a:moveTo>
                    <a:cubicBezTo>
                      <a:pt x="491" y="144"/>
                      <a:pt x="491" y="144"/>
                      <a:pt x="491" y="144"/>
                    </a:cubicBezTo>
                    <a:cubicBezTo>
                      <a:pt x="500" y="144"/>
                      <a:pt x="500" y="144"/>
                      <a:pt x="500" y="144"/>
                    </a:cubicBezTo>
                    <a:cubicBezTo>
                      <a:pt x="500" y="136"/>
                      <a:pt x="500" y="136"/>
                      <a:pt x="500" y="136"/>
                    </a:cubicBezTo>
                    <a:lnTo>
                      <a:pt x="491" y="136"/>
                    </a:lnTo>
                    <a:close/>
                    <a:moveTo>
                      <a:pt x="982" y="36"/>
                    </a:moveTo>
                    <a:cubicBezTo>
                      <a:pt x="957" y="12"/>
                      <a:pt x="927" y="0"/>
                      <a:pt x="892" y="0"/>
                    </a:cubicBezTo>
                    <a:cubicBezTo>
                      <a:pt x="857" y="0"/>
                      <a:pt x="827" y="12"/>
                      <a:pt x="802" y="36"/>
                    </a:cubicBezTo>
                    <a:cubicBezTo>
                      <a:pt x="778" y="60"/>
                      <a:pt x="766" y="90"/>
                      <a:pt x="766" y="124"/>
                    </a:cubicBezTo>
                    <a:cubicBezTo>
                      <a:pt x="766" y="159"/>
                      <a:pt x="778" y="189"/>
                      <a:pt x="802" y="213"/>
                    </a:cubicBezTo>
                    <a:cubicBezTo>
                      <a:pt x="827" y="237"/>
                      <a:pt x="857" y="249"/>
                      <a:pt x="892" y="249"/>
                    </a:cubicBezTo>
                    <a:cubicBezTo>
                      <a:pt x="927" y="250"/>
                      <a:pt x="957" y="237"/>
                      <a:pt x="982" y="213"/>
                    </a:cubicBezTo>
                    <a:cubicBezTo>
                      <a:pt x="1006" y="189"/>
                      <a:pt x="1019" y="159"/>
                      <a:pt x="1019" y="124"/>
                    </a:cubicBezTo>
                    <a:cubicBezTo>
                      <a:pt x="1019" y="90"/>
                      <a:pt x="1006" y="60"/>
                      <a:pt x="982" y="36"/>
                    </a:cubicBezTo>
                    <a:close/>
                    <a:moveTo>
                      <a:pt x="942" y="177"/>
                    </a:moveTo>
                    <a:cubicBezTo>
                      <a:pt x="928" y="191"/>
                      <a:pt x="912" y="198"/>
                      <a:pt x="892" y="198"/>
                    </a:cubicBezTo>
                    <a:cubicBezTo>
                      <a:pt x="872" y="198"/>
                      <a:pt x="855" y="192"/>
                      <a:pt x="842" y="177"/>
                    </a:cubicBezTo>
                    <a:cubicBezTo>
                      <a:pt x="828" y="163"/>
                      <a:pt x="822" y="145"/>
                      <a:pt x="822" y="125"/>
                    </a:cubicBezTo>
                    <a:cubicBezTo>
                      <a:pt x="822" y="105"/>
                      <a:pt x="828" y="87"/>
                      <a:pt x="842" y="72"/>
                    </a:cubicBezTo>
                    <a:cubicBezTo>
                      <a:pt x="856" y="58"/>
                      <a:pt x="873" y="51"/>
                      <a:pt x="892" y="51"/>
                    </a:cubicBezTo>
                    <a:cubicBezTo>
                      <a:pt x="912" y="51"/>
                      <a:pt x="929" y="58"/>
                      <a:pt x="942" y="72"/>
                    </a:cubicBezTo>
                    <a:cubicBezTo>
                      <a:pt x="956" y="87"/>
                      <a:pt x="962" y="105"/>
                      <a:pt x="962" y="125"/>
                    </a:cubicBezTo>
                    <a:cubicBezTo>
                      <a:pt x="962" y="145"/>
                      <a:pt x="956" y="163"/>
                      <a:pt x="942" y="177"/>
                    </a:cubicBezTo>
                    <a:close/>
                    <a:moveTo>
                      <a:pt x="1245" y="162"/>
                    </a:moveTo>
                    <a:cubicBezTo>
                      <a:pt x="1244" y="164"/>
                      <a:pt x="1244" y="164"/>
                      <a:pt x="1244" y="164"/>
                    </a:cubicBezTo>
                    <a:cubicBezTo>
                      <a:pt x="1229" y="185"/>
                      <a:pt x="1209" y="198"/>
                      <a:pt x="1183" y="198"/>
                    </a:cubicBezTo>
                    <a:cubicBezTo>
                      <a:pt x="1163" y="198"/>
                      <a:pt x="1146" y="192"/>
                      <a:pt x="1132" y="177"/>
                    </a:cubicBezTo>
                    <a:cubicBezTo>
                      <a:pt x="1118" y="163"/>
                      <a:pt x="1112" y="145"/>
                      <a:pt x="1112" y="124"/>
                    </a:cubicBezTo>
                    <a:cubicBezTo>
                      <a:pt x="1112" y="105"/>
                      <a:pt x="1118" y="87"/>
                      <a:pt x="1132" y="72"/>
                    </a:cubicBezTo>
                    <a:cubicBezTo>
                      <a:pt x="1146" y="58"/>
                      <a:pt x="1163" y="51"/>
                      <a:pt x="1183" y="51"/>
                    </a:cubicBezTo>
                    <a:cubicBezTo>
                      <a:pt x="1209" y="51"/>
                      <a:pt x="1229" y="65"/>
                      <a:pt x="1244" y="86"/>
                    </a:cubicBezTo>
                    <a:cubicBezTo>
                      <a:pt x="1245" y="88"/>
                      <a:pt x="1245" y="88"/>
                      <a:pt x="1245" y="88"/>
                    </a:cubicBezTo>
                    <a:cubicBezTo>
                      <a:pt x="1284" y="57"/>
                      <a:pt x="1284" y="57"/>
                      <a:pt x="1284" y="57"/>
                    </a:cubicBezTo>
                    <a:cubicBezTo>
                      <a:pt x="1283" y="56"/>
                      <a:pt x="1283" y="56"/>
                      <a:pt x="1283" y="56"/>
                    </a:cubicBezTo>
                    <a:cubicBezTo>
                      <a:pt x="1273" y="38"/>
                      <a:pt x="1259" y="25"/>
                      <a:pt x="1242" y="15"/>
                    </a:cubicBezTo>
                    <a:cubicBezTo>
                      <a:pt x="1223" y="4"/>
                      <a:pt x="1203" y="0"/>
                      <a:pt x="1182" y="0"/>
                    </a:cubicBezTo>
                    <a:cubicBezTo>
                      <a:pt x="1148" y="0"/>
                      <a:pt x="1118" y="12"/>
                      <a:pt x="1093" y="36"/>
                    </a:cubicBezTo>
                    <a:cubicBezTo>
                      <a:pt x="1068" y="60"/>
                      <a:pt x="1056" y="90"/>
                      <a:pt x="1056" y="124"/>
                    </a:cubicBezTo>
                    <a:cubicBezTo>
                      <a:pt x="1056" y="159"/>
                      <a:pt x="1068" y="189"/>
                      <a:pt x="1093" y="213"/>
                    </a:cubicBezTo>
                    <a:cubicBezTo>
                      <a:pt x="1118" y="238"/>
                      <a:pt x="1148" y="249"/>
                      <a:pt x="1182" y="249"/>
                    </a:cubicBezTo>
                    <a:cubicBezTo>
                      <a:pt x="1226" y="249"/>
                      <a:pt x="1260" y="231"/>
                      <a:pt x="1283" y="194"/>
                    </a:cubicBezTo>
                    <a:cubicBezTo>
                      <a:pt x="1284" y="192"/>
                      <a:pt x="1284" y="192"/>
                      <a:pt x="1284" y="192"/>
                    </a:cubicBezTo>
                    <a:lnTo>
                      <a:pt x="1245" y="16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r>
                  <a:rPr lang="de-DE"/>
                  <a:t> 	</a:t>
                </a:r>
              </a:p>
            </p:txBody>
          </p:sp>
          <p:sp>
            <p:nvSpPr>
              <p:cNvPr id="21" name="Freeform 6">
                <a:extLst>
                  <a:ext uri="{FF2B5EF4-FFF2-40B4-BE49-F238E27FC236}">
                    <a16:creationId xmlns:a16="http://schemas.microsoft.com/office/drawing/2014/main" id="{7C64253D-4F2C-4669-AFDB-8402AA6A67BF}"/>
                  </a:ext>
                </a:extLst>
              </p:cNvPr>
              <p:cNvSpPr>
                <a:spLocks noEditPoints="1"/>
              </p:cNvSpPr>
              <p:nvPr userDrawn="1"/>
            </p:nvSpPr>
            <p:spPr bwMode="gray">
              <a:xfrm>
                <a:off x="6693" y="330"/>
                <a:ext cx="213" cy="249"/>
              </a:xfrm>
              <a:custGeom>
                <a:avLst/>
                <a:gdLst>
                  <a:gd name="T0" fmla="*/ 227 w 274"/>
                  <a:gd name="T1" fmla="*/ 44 h 319"/>
                  <a:gd name="T2" fmla="*/ 101 w 274"/>
                  <a:gd name="T3" fmla="*/ 0 h 319"/>
                  <a:gd name="T4" fmla="*/ 0 w 274"/>
                  <a:gd name="T5" fmla="*/ 0 h 319"/>
                  <a:gd name="T6" fmla="*/ 0 w 274"/>
                  <a:gd name="T7" fmla="*/ 138 h 319"/>
                  <a:gd name="T8" fmla="*/ 7 w 274"/>
                  <a:gd name="T9" fmla="*/ 138 h 319"/>
                  <a:gd name="T10" fmla="*/ 7 w 274"/>
                  <a:gd name="T11" fmla="*/ 146 h 319"/>
                  <a:gd name="T12" fmla="*/ 0 w 274"/>
                  <a:gd name="T13" fmla="*/ 146 h 319"/>
                  <a:gd name="T14" fmla="*/ 0 w 274"/>
                  <a:gd name="T15" fmla="*/ 154 h 319"/>
                  <a:gd name="T16" fmla="*/ 8 w 274"/>
                  <a:gd name="T17" fmla="*/ 154 h 319"/>
                  <a:gd name="T18" fmla="*/ 8 w 274"/>
                  <a:gd name="T19" fmla="*/ 162 h 319"/>
                  <a:gd name="T20" fmla="*/ 17 w 274"/>
                  <a:gd name="T21" fmla="*/ 162 h 319"/>
                  <a:gd name="T22" fmla="*/ 17 w 274"/>
                  <a:gd name="T23" fmla="*/ 169 h 319"/>
                  <a:gd name="T24" fmla="*/ 24 w 274"/>
                  <a:gd name="T25" fmla="*/ 169 h 319"/>
                  <a:gd name="T26" fmla="*/ 24 w 274"/>
                  <a:gd name="T27" fmla="*/ 163 h 319"/>
                  <a:gd name="T28" fmla="*/ 33 w 274"/>
                  <a:gd name="T29" fmla="*/ 163 h 319"/>
                  <a:gd name="T30" fmla="*/ 33 w 274"/>
                  <a:gd name="T31" fmla="*/ 177 h 319"/>
                  <a:gd name="T32" fmla="*/ 41 w 274"/>
                  <a:gd name="T33" fmla="*/ 177 h 319"/>
                  <a:gd name="T34" fmla="*/ 41 w 274"/>
                  <a:gd name="T35" fmla="*/ 169 h 319"/>
                  <a:gd name="T36" fmla="*/ 52 w 274"/>
                  <a:gd name="T37" fmla="*/ 169 h 319"/>
                  <a:gd name="T38" fmla="*/ 52 w 274"/>
                  <a:gd name="T39" fmla="*/ 162 h 319"/>
                  <a:gd name="T40" fmla="*/ 58 w 274"/>
                  <a:gd name="T41" fmla="*/ 162 h 319"/>
                  <a:gd name="T42" fmla="*/ 58 w 274"/>
                  <a:gd name="T43" fmla="*/ 126 h 319"/>
                  <a:gd name="T44" fmla="*/ 52 w 274"/>
                  <a:gd name="T45" fmla="*/ 126 h 319"/>
                  <a:gd name="T46" fmla="*/ 52 w 274"/>
                  <a:gd name="T47" fmla="*/ 118 h 319"/>
                  <a:gd name="T48" fmla="*/ 58 w 274"/>
                  <a:gd name="T49" fmla="*/ 118 h 319"/>
                  <a:gd name="T50" fmla="*/ 58 w 274"/>
                  <a:gd name="T51" fmla="*/ 108 h 319"/>
                  <a:gd name="T52" fmla="*/ 54 w 274"/>
                  <a:gd name="T53" fmla="*/ 108 h 319"/>
                  <a:gd name="T54" fmla="*/ 54 w 274"/>
                  <a:gd name="T55" fmla="*/ 98 h 319"/>
                  <a:gd name="T56" fmla="*/ 58 w 274"/>
                  <a:gd name="T57" fmla="*/ 98 h 319"/>
                  <a:gd name="T58" fmla="*/ 58 w 274"/>
                  <a:gd name="T59" fmla="*/ 51 h 319"/>
                  <a:gd name="T60" fmla="*/ 100 w 274"/>
                  <a:gd name="T61" fmla="*/ 51 h 319"/>
                  <a:gd name="T62" fmla="*/ 186 w 274"/>
                  <a:gd name="T63" fmla="*/ 80 h 319"/>
                  <a:gd name="T64" fmla="*/ 217 w 274"/>
                  <a:gd name="T65" fmla="*/ 159 h 319"/>
                  <a:gd name="T66" fmla="*/ 186 w 274"/>
                  <a:gd name="T67" fmla="*/ 238 h 319"/>
                  <a:gd name="T68" fmla="*/ 100 w 274"/>
                  <a:gd name="T69" fmla="*/ 269 h 319"/>
                  <a:gd name="T70" fmla="*/ 0 w 274"/>
                  <a:gd name="T71" fmla="*/ 270 h 319"/>
                  <a:gd name="T72" fmla="*/ 0 w 274"/>
                  <a:gd name="T73" fmla="*/ 319 h 319"/>
                  <a:gd name="T74" fmla="*/ 101 w 274"/>
                  <a:gd name="T75" fmla="*/ 319 h 319"/>
                  <a:gd name="T76" fmla="*/ 226 w 274"/>
                  <a:gd name="T77" fmla="*/ 274 h 319"/>
                  <a:gd name="T78" fmla="*/ 274 w 274"/>
                  <a:gd name="T79" fmla="*/ 159 h 319"/>
                  <a:gd name="T80" fmla="*/ 227 w 274"/>
                  <a:gd name="T81" fmla="*/ 44 h 319"/>
                  <a:gd name="T82" fmla="*/ 39 w 274"/>
                  <a:gd name="T83" fmla="*/ 140 h 319"/>
                  <a:gd name="T84" fmla="*/ 31 w 274"/>
                  <a:gd name="T85" fmla="*/ 140 h 319"/>
                  <a:gd name="T86" fmla="*/ 31 w 274"/>
                  <a:gd name="T87" fmla="*/ 148 h 319"/>
                  <a:gd name="T88" fmla="*/ 23 w 274"/>
                  <a:gd name="T89" fmla="*/ 148 h 319"/>
                  <a:gd name="T90" fmla="*/ 23 w 274"/>
                  <a:gd name="T91" fmla="*/ 140 h 319"/>
                  <a:gd name="T92" fmla="*/ 31 w 274"/>
                  <a:gd name="T93" fmla="*/ 140 h 319"/>
                  <a:gd name="T94" fmla="*/ 31 w 274"/>
                  <a:gd name="T95" fmla="*/ 132 h 319"/>
                  <a:gd name="T96" fmla="*/ 23 w 274"/>
                  <a:gd name="T97" fmla="*/ 132 h 319"/>
                  <a:gd name="T98" fmla="*/ 23 w 274"/>
                  <a:gd name="T99" fmla="*/ 124 h 319"/>
                  <a:gd name="T100" fmla="*/ 31 w 274"/>
                  <a:gd name="T101" fmla="*/ 124 h 319"/>
                  <a:gd name="T102" fmla="*/ 31 w 274"/>
                  <a:gd name="T103" fmla="*/ 132 h 319"/>
                  <a:gd name="T104" fmla="*/ 39 w 274"/>
                  <a:gd name="T105" fmla="*/ 132 h 319"/>
                  <a:gd name="T106" fmla="*/ 39 w 274"/>
                  <a:gd name="T107" fmla="*/ 140 h 3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274" h="319">
                    <a:moveTo>
                      <a:pt x="227" y="44"/>
                    </a:moveTo>
                    <a:cubicBezTo>
                      <a:pt x="192" y="11"/>
                      <a:pt x="147" y="0"/>
                      <a:pt x="101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46"/>
                      <a:pt x="0" y="91"/>
                      <a:pt x="0" y="138"/>
                    </a:cubicBezTo>
                    <a:cubicBezTo>
                      <a:pt x="7" y="138"/>
                      <a:pt x="7" y="138"/>
                      <a:pt x="7" y="138"/>
                    </a:cubicBezTo>
                    <a:cubicBezTo>
                      <a:pt x="7" y="146"/>
                      <a:pt x="7" y="146"/>
                      <a:pt x="7" y="146"/>
                    </a:cubicBezTo>
                    <a:cubicBezTo>
                      <a:pt x="0" y="146"/>
                      <a:pt x="0" y="146"/>
                      <a:pt x="0" y="146"/>
                    </a:cubicBezTo>
                    <a:cubicBezTo>
                      <a:pt x="0" y="154"/>
                      <a:pt x="0" y="154"/>
                      <a:pt x="0" y="154"/>
                    </a:cubicBezTo>
                    <a:cubicBezTo>
                      <a:pt x="8" y="154"/>
                      <a:pt x="8" y="154"/>
                      <a:pt x="8" y="154"/>
                    </a:cubicBezTo>
                    <a:cubicBezTo>
                      <a:pt x="8" y="162"/>
                      <a:pt x="8" y="162"/>
                      <a:pt x="8" y="162"/>
                    </a:cubicBezTo>
                    <a:cubicBezTo>
                      <a:pt x="17" y="162"/>
                      <a:pt x="17" y="162"/>
                      <a:pt x="17" y="162"/>
                    </a:cubicBezTo>
                    <a:cubicBezTo>
                      <a:pt x="17" y="169"/>
                      <a:pt x="17" y="169"/>
                      <a:pt x="17" y="169"/>
                    </a:cubicBezTo>
                    <a:cubicBezTo>
                      <a:pt x="24" y="169"/>
                      <a:pt x="24" y="169"/>
                      <a:pt x="24" y="169"/>
                    </a:cubicBezTo>
                    <a:cubicBezTo>
                      <a:pt x="24" y="163"/>
                      <a:pt x="24" y="163"/>
                      <a:pt x="24" y="163"/>
                    </a:cubicBezTo>
                    <a:cubicBezTo>
                      <a:pt x="33" y="163"/>
                      <a:pt x="33" y="163"/>
                      <a:pt x="33" y="163"/>
                    </a:cubicBezTo>
                    <a:cubicBezTo>
                      <a:pt x="33" y="177"/>
                      <a:pt x="33" y="177"/>
                      <a:pt x="33" y="177"/>
                    </a:cubicBezTo>
                    <a:cubicBezTo>
                      <a:pt x="41" y="177"/>
                      <a:pt x="41" y="177"/>
                      <a:pt x="41" y="177"/>
                    </a:cubicBezTo>
                    <a:cubicBezTo>
                      <a:pt x="41" y="169"/>
                      <a:pt x="41" y="169"/>
                      <a:pt x="41" y="169"/>
                    </a:cubicBezTo>
                    <a:cubicBezTo>
                      <a:pt x="52" y="169"/>
                      <a:pt x="52" y="169"/>
                      <a:pt x="52" y="169"/>
                    </a:cubicBezTo>
                    <a:cubicBezTo>
                      <a:pt x="52" y="162"/>
                      <a:pt x="52" y="162"/>
                      <a:pt x="52" y="162"/>
                    </a:cubicBezTo>
                    <a:cubicBezTo>
                      <a:pt x="58" y="162"/>
                      <a:pt x="58" y="162"/>
                      <a:pt x="58" y="162"/>
                    </a:cubicBezTo>
                    <a:cubicBezTo>
                      <a:pt x="58" y="126"/>
                      <a:pt x="58" y="126"/>
                      <a:pt x="58" y="126"/>
                    </a:cubicBezTo>
                    <a:cubicBezTo>
                      <a:pt x="52" y="126"/>
                      <a:pt x="52" y="126"/>
                      <a:pt x="52" y="126"/>
                    </a:cubicBezTo>
                    <a:cubicBezTo>
                      <a:pt x="52" y="118"/>
                      <a:pt x="52" y="118"/>
                      <a:pt x="52" y="118"/>
                    </a:cubicBezTo>
                    <a:cubicBezTo>
                      <a:pt x="58" y="118"/>
                      <a:pt x="58" y="118"/>
                      <a:pt x="58" y="118"/>
                    </a:cubicBezTo>
                    <a:cubicBezTo>
                      <a:pt x="58" y="108"/>
                      <a:pt x="58" y="108"/>
                      <a:pt x="58" y="108"/>
                    </a:cubicBezTo>
                    <a:cubicBezTo>
                      <a:pt x="54" y="108"/>
                      <a:pt x="54" y="108"/>
                      <a:pt x="54" y="108"/>
                    </a:cubicBezTo>
                    <a:cubicBezTo>
                      <a:pt x="54" y="98"/>
                      <a:pt x="54" y="98"/>
                      <a:pt x="54" y="98"/>
                    </a:cubicBezTo>
                    <a:cubicBezTo>
                      <a:pt x="58" y="98"/>
                      <a:pt x="58" y="98"/>
                      <a:pt x="58" y="98"/>
                    </a:cubicBezTo>
                    <a:cubicBezTo>
                      <a:pt x="58" y="51"/>
                      <a:pt x="58" y="51"/>
                      <a:pt x="58" y="51"/>
                    </a:cubicBezTo>
                    <a:cubicBezTo>
                      <a:pt x="72" y="51"/>
                      <a:pt x="86" y="51"/>
                      <a:pt x="100" y="51"/>
                    </a:cubicBezTo>
                    <a:cubicBezTo>
                      <a:pt x="132" y="51"/>
                      <a:pt x="162" y="58"/>
                      <a:pt x="186" y="80"/>
                    </a:cubicBezTo>
                    <a:cubicBezTo>
                      <a:pt x="208" y="101"/>
                      <a:pt x="217" y="129"/>
                      <a:pt x="217" y="159"/>
                    </a:cubicBezTo>
                    <a:cubicBezTo>
                      <a:pt x="217" y="190"/>
                      <a:pt x="208" y="217"/>
                      <a:pt x="186" y="238"/>
                    </a:cubicBezTo>
                    <a:cubicBezTo>
                      <a:pt x="162" y="261"/>
                      <a:pt x="132" y="269"/>
                      <a:pt x="100" y="269"/>
                    </a:cubicBezTo>
                    <a:cubicBezTo>
                      <a:pt x="67" y="269"/>
                      <a:pt x="34" y="269"/>
                      <a:pt x="0" y="270"/>
                    </a:cubicBezTo>
                    <a:cubicBezTo>
                      <a:pt x="0" y="319"/>
                      <a:pt x="0" y="319"/>
                      <a:pt x="0" y="319"/>
                    </a:cubicBezTo>
                    <a:cubicBezTo>
                      <a:pt x="101" y="319"/>
                      <a:pt x="101" y="319"/>
                      <a:pt x="101" y="319"/>
                    </a:cubicBezTo>
                    <a:cubicBezTo>
                      <a:pt x="148" y="319"/>
                      <a:pt x="192" y="307"/>
                      <a:pt x="226" y="274"/>
                    </a:cubicBezTo>
                    <a:cubicBezTo>
                      <a:pt x="259" y="243"/>
                      <a:pt x="274" y="204"/>
                      <a:pt x="274" y="159"/>
                    </a:cubicBezTo>
                    <a:cubicBezTo>
                      <a:pt x="274" y="114"/>
                      <a:pt x="260" y="75"/>
                      <a:pt x="227" y="44"/>
                    </a:cubicBezTo>
                    <a:close/>
                    <a:moveTo>
                      <a:pt x="39" y="140"/>
                    </a:moveTo>
                    <a:cubicBezTo>
                      <a:pt x="31" y="140"/>
                      <a:pt x="31" y="140"/>
                      <a:pt x="31" y="140"/>
                    </a:cubicBezTo>
                    <a:cubicBezTo>
                      <a:pt x="31" y="148"/>
                      <a:pt x="31" y="148"/>
                      <a:pt x="31" y="148"/>
                    </a:cubicBezTo>
                    <a:cubicBezTo>
                      <a:pt x="23" y="148"/>
                      <a:pt x="23" y="148"/>
                      <a:pt x="23" y="148"/>
                    </a:cubicBezTo>
                    <a:cubicBezTo>
                      <a:pt x="23" y="140"/>
                      <a:pt x="23" y="140"/>
                      <a:pt x="23" y="140"/>
                    </a:cubicBezTo>
                    <a:cubicBezTo>
                      <a:pt x="31" y="140"/>
                      <a:pt x="31" y="140"/>
                      <a:pt x="31" y="140"/>
                    </a:cubicBezTo>
                    <a:cubicBezTo>
                      <a:pt x="31" y="132"/>
                      <a:pt x="31" y="132"/>
                      <a:pt x="31" y="132"/>
                    </a:cubicBezTo>
                    <a:cubicBezTo>
                      <a:pt x="23" y="132"/>
                      <a:pt x="23" y="132"/>
                      <a:pt x="23" y="132"/>
                    </a:cubicBezTo>
                    <a:cubicBezTo>
                      <a:pt x="23" y="124"/>
                      <a:pt x="23" y="124"/>
                      <a:pt x="23" y="124"/>
                    </a:cubicBezTo>
                    <a:cubicBezTo>
                      <a:pt x="31" y="124"/>
                      <a:pt x="31" y="124"/>
                      <a:pt x="31" y="124"/>
                    </a:cubicBezTo>
                    <a:cubicBezTo>
                      <a:pt x="31" y="132"/>
                      <a:pt x="31" y="132"/>
                      <a:pt x="31" y="132"/>
                    </a:cubicBezTo>
                    <a:cubicBezTo>
                      <a:pt x="39" y="132"/>
                      <a:pt x="39" y="132"/>
                      <a:pt x="39" y="132"/>
                    </a:cubicBezTo>
                    <a:lnTo>
                      <a:pt x="39" y="14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22" name="Freeform 7">
                <a:extLst>
                  <a:ext uri="{FF2B5EF4-FFF2-40B4-BE49-F238E27FC236}">
                    <a16:creationId xmlns:a16="http://schemas.microsoft.com/office/drawing/2014/main" id="{15D97CED-EBE5-48DC-B9F2-B82ABA39832E}"/>
                  </a:ext>
                </a:extLst>
              </p:cNvPr>
              <p:cNvSpPr>
                <a:spLocks noEditPoints="1"/>
              </p:cNvSpPr>
              <p:nvPr userDrawn="1"/>
            </p:nvSpPr>
            <p:spPr bwMode="gray">
              <a:xfrm>
                <a:off x="6337" y="633"/>
                <a:ext cx="1001" cy="71"/>
              </a:xfrm>
              <a:custGeom>
                <a:avLst/>
                <a:gdLst>
                  <a:gd name="T0" fmla="*/ 1246 w 1289"/>
                  <a:gd name="T1" fmla="*/ 35 h 91"/>
                  <a:gd name="T2" fmla="*/ 1246 w 1289"/>
                  <a:gd name="T3" fmla="*/ 57 h 91"/>
                  <a:gd name="T4" fmla="*/ 1289 w 1289"/>
                  <a:gd name="T5" fmla="*/ 90 h 91"/>
                  <a:gd name="T6" fmla="*/ 1189 w 1289"/>
                  <a:gd name="T7" fmla="*/ 83 h 91"/>
                  <a:gd name="T8" fmla="*/ 1168 w 1289"/>
                  <a:gd name="T9" fmla="*/ 34 h 91"/>
                  <a:gd name="T10" fmla="*/ 1218 w 1289"/>
                  <a:gd name="T11" fmla="*/ 58 h 91"/>
                  <a:gd name="T12" fmla="*/ 1141 w 1289"/>
                  <a:gd name="T13" fmla="*/ 5 h 91"/>
                  <a:gd name="T14" fmla="*/ 1132 w 1289"/>
                  <a:gd name="T15" fmla="*/ 27 h 91"/>
                  <a:gd name="T16" fmla="*/ 1099 w 1289"/>
                  <a:gd name="T17" fmla="*/ 34 h 91"/>
                  <a:gd name="T18" fmla="*/ 1089 w 1289"/>
                  <a:gd name="T19" fmla="*/ 26 h 91"/>
                  <a:gd name="T20" fmla="*/ 1113 w 1289"/>
                  <a:gd name="T21" fmla="*/ 91 h 91"/>
                  <a:gd name="T22" fmla="*/ 1013 w 1289"/>
                  <a:gd name="T23" fmla="*/ 27 h 91"/>
                  <a:gd name="T24" fmla="*/ 1057 w 1289"/>
                  <a:gd name="T25" fmla="*/ 81 h 91"/>
                  <a:gd name="T26" fmla="*/ 1052 w 1289"/>
                  <a:gd name="T27" fmla="*/ 78 h 91"/>
                  <a:gd name="T28" fmla="*/ 992 w 1289"/>
                  <a:gd name="T29" fmla="*/ 0 h 91"/>
                  <a:gd name="T30" fmla="*/ 935 w 1289"/>
                  <a:gd name="T31" fmla="*/ 34 h 91"/>
                  <a:gd name="T32" fmla="*/ 916 w 1289"/>
                  <a:gd name="T33" fmla="*/ 58 h 91"/>
                  <a:gd name="T34" fmla="*/ 909 w 1289"/>
                  <a:gd name="T35" fmla="*/ 76 h 91"/>
                  <a:gd name="T36" fmla="*/ 874 w 1289"/>
                  <a:gd name="T37" fmla="*/ 90 h 91"/>
                  <a:gd name="T38" fmla="*/ 862 w 1289"/>
                  <a:gd name="T39" fmla="*/ 64 h 91"/>
                  <a:gd name="T40" fmla="*/ 792 w 1289"/>
                  <a:gd name="T41" fmla="*/ 81 h 91"/>
                  <a:gd name="T42" fmla="*/ 830 w 1289"/>
                  <a:gd name="T43" fmla="*/ 14 h 91"/>
                  <a:gd name="T44" fmla="*/ 727 w 1289"/>
                  <a:gd name="T45" fmla="*/ 90 h 91"/>
                  <a:gd name="T46" fmla="*/ 684 w 1289"/>
                  <a:gd name="T47" fmla="*/ 36 h 91"/>
                  <a:gd name="T48" fmla="*/ 684 w 1289"/>
                  <a:gd name="T49" fmla="*/ 57 h 91"/>
                  <a:gd name="T50" fmla="*/ 727 w 1289"/>
                  <a:gd name="T51" fmla="*/ 90 h 91"/>
                  <a:gd name="T52" fmla="*/ 641 w 1289"/>
                  <a:gd name="T53" fmla="*/ 27 h 91"/>
                  <a:gd name="T54" fmla="*/ 632 w 1289"/>
                  <a:gd name="T55" fmla="*/ 34 h 91"/>
                  <a:gd name="T56" fmla="*/ 656 w 1289"/>
                  <a:gd name="T57" fmla="*/ 83 h 91"/>
                  <a:gd name="T58" fmla="*/ 609 w 1289"/>
                  <a:gd name="T59" fmla="*/ 90 h 91"/>
                  <a:gd name="T60" fmla="*/ 568 w 1289"/>
                  <a:gd name="T61" fmla="*/ 59 h 91"/>
                  <a:gd name="T62" fmla="*/ 578 w 1289"/>
                  <a:gd name="T63" fmla="*/ 47 h 91"/>
                  <a:gd name="T64" fmla="*/ 555 w 1289"/>
                  <a:gd name="T65" fmla="*/ 34 h 91"/>
                  <a:gd name="T66" fmla="*/ 533 w 1289"/>
                  <a:gd name="T67" fmla="*/ 86 h 91"/>
                  <a:gd name="T68" fmla="*/ 578 w 1289"/>
                  <a:gd name="T69" fmla="*/ 90 h 91"/>
                  <a:gd name="T70" fmla="*/ 500 w 1289"/>
                  <a:gd name="T71" fmla="*/ 38 h 91"/>
                  <a:gd name="T72" fmla="*/ 471 w 1289"/>
                  <a:gd name="T73" fmla="*/ 60 h 91"/>
                  <a:gd name="T74" fmla="*/ 461 w 1289"/>
                  <a:gd name="T75" fmla="*/ 59 h 91"/>
                  <a:gd name="T76" fmla="*/ 431 w 1289"/>
                  <a:gd name="T77" fmla="*/ 42 h 91"/>
                  <a:gd name="T78" fmla="*/ 387 w 1289"/>
                  <a:gd name="T79" fmla="*/ 50 h 91"/>
                  <a:gd name="T80" fmla="*/ 310 w 1289"/>
                  <a:gd name="T81" fmla="*/ 71 h 91"/>
                  <a:gd name="T82" fmla="*/ 304 w 1289"/>
                  <a:gd name="T83" fmla="*/ 12 h 91"/>
                  <a:gd name="T84" fmla="*/ 318 w 1289"/>
                  <a:gd name="T85" fmla="*/ 91 h 91"/>
                  <a:gd name="T86" fmla="*/ 312 w 1289"/>
                  <a:gd name="T87" fmla="*/ 80 h 91"/>
                  <a:gd name="T88" fmla="*/ 249 w 1289"/>
                  <a:gd name="T89" fmla="*/ 90 h 91"/>
                  <a:gd name="T90" fmla="*/ 286 w 1289"/>
                  <a:gd name="T91" fmla="*/ 26 h 91"/>
                  <a:gd name="T92" fmla="*/ 209 w 1289"/>
                  <a:gd name="T93" fmla="*/ 59 h 91"/>
                  <a:gd name="T94" fmla="*/ 228 w 1289"/>
                  <a:gd name="T95" fmla="*/ 90 h 91"/>
                  <a:gd name="T96" fmla="*/ 187 w 1289"/>
                  <a:gd name="T97" fmla="*/ 38 h 91"/>
                  <a:gd name="T98" fmla="*/ 177 w 1289"/>
                  <a:gd name="T99" fmla="*/ 72 h 91"/>
                  <a:gd name="T100" fmla="*/ 221 w 1289"/>
                  <a:gd name="T101" fmla="*/ 90 h 91"/>
                  <a:gd name="T102" fmla="*/ 127 w 1289"/>
                  <a:gd name="T103" fmla="*/ 29 h 91"/>
                  <a:gd name="T104" fmla="*/ 80 w 1289"/>
                  <a:gd name="T105" fmla="*/ 35 h 91"/>
                  <a:gd name="T106" fmla="*/ 84 w 1289"/>
                  <a:gd name="T107" fmla="*/ 39 h 91"/>
                  <a:gd name="T108" fmla="*/ 120 w 1289"/>
                  <a:gd name="T109" fmla="*/ 55 h 91"/>
                  <a:gd name="T110" fmla="*/ 161 w 1289"/>
                  <a:gd name="T111" fmla="*/ 90 h 91"/>
                  <a:gd name="T112" fmla="*/ 15 w 1289"/>
                  <a:gd name="T113" fmla="*/ 17 h 91"/>
                  <a:gd name="T114" fmla="*/ 1 w 1289"/>
                  <a:gd name="T115" fmla="*/ 26 h 91"/>
                  <a:gd name="T116" fmla="*/ 38 w 1289"/>
                  <a:gd name="T117" fmla="*/ 79 h 91"/>
                  <a:gd name="T118" fmla="*/ 45 w 1289"/>
                  <a:gd name="T119" fmla="*/ 85 h 9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1289" h="91">
                    <a:moveTo>
                      <a:pt x="1289" y="90"/>
                    </a:moveTo>
                    <a:cubicBezTo>
                      <a:pt x="1289" y="49"/>
                      <a:pt x="1289" y="49"/>
                      <a:pt x="1289" y="49"/>
                    </a:cubicBezTo>
                    <a:cubicBezTo>
                      <a:pt x="1289" y="41"/>
                      <a:pt x="1287" y="35"/>
                      <a:pt x="1283" y="31"/>
                    </a:cubicBezTo>
                    <a:cubicBezTo>
                      <a:pt x="1280" y="27"/>
                      <a:pt x="1274" y="26"/>
                      <a:pt x="1266" y="26"/>
                    </a:cubicBezTo>
                    <a:cubicBezTo>
                      <a:pt x="1262" y="26"/>
                      <a:pt x="1258" y="27"/>
                      <a:pt x="1254" y="28"/>
                    </a:cubicBezTo>
                    <a:cubicBezTo>
                      <a:pt x="1251" y="30"/>
                      <a:pt x="1248" y="32"/>
                      <a:pt x="1246" y="35"/>
                    </a:cubicBezTo>
                    <a:cubicBezTo>
                      <a:pt x="1246" y="35"/>
                      <a:pt x="1246" y="35"/>
                      <a:pt x="1246" y="35"/>
                    </a:cubicBezTo>
                    <a:cubicBezTo>
                      <a:pt x="1244" y="27"/>
                      <a:pt x="1244" y="27"/>
                      <a:pt x="1244" y="27"/>
                    </a:cubicBezTo>
                    <a:cubicBezTo>
                      <a:pt x="1236" y="27"/>
                      <a:pt x="1236" y="27"/>
                      <a:pt x="1236" y="27"/>
                    </a:cubicBezTo>
                    <a:cubicBezTo>
                      <a:pt x="1236" y="90"/>
                      <a:pt x="1236" y="90"/>
                      <a:pt x="1236" y="90"/>
                    </a:cubicBezTo>
                    <a:cubicBezTo>
                      <a:pt x="1246" y="90"/>
                      <a:pt x="1246" y="90"/>
                      <a:pt x="1246" y="90"/>
                    </a:cubicBezTo>
                    <a:cubicBezTo>
                      <a:pt x="1246" y="57"/>
                      <a:pt x="1246" y="57"/>
                      <a:pt x="1246" y="57"/>
                    </a:cubicBezTo>
                    <a:cubicBezTo>
                      <a:pt x="1246" y="49"/>
                      <a:pt x="1247" y="43"/>
                      <a:pt x="1251" y="39"/>
                    </a:cubicBezTo>
                    <a:cubicBezTo>
                      <a:pt x="1254" y="36"/>
                      <a:pt x="1258" y="34"/>
                      <a:pt x="1265" y="34"/>
                    </a:cubicBezTo>
                    <a:cubicBezTo>
                      <a:pt x="1270" y="34"/>
                      <a:pt x="1274" y="35"/>
                      <a:pt x="1276" y="38"/>
                    </a:cubicBezTo>
                    <a:cubicBezTo>
                      <a:pt x="1278" y="40"/>
                      <a:pt x="1280" y="44"/>
                      <a:pt x="1280" y="49"/>
                    </a:cubicBezTo>
                    <a:cubicBezTo>
                      <a:pt x="1280" y="90"/>
                      <a:pt x="1280" y="90"/>
                      <a:pt x="1280" y="90"/>
                    </a:cubicBezTo>
                    <a:lnTo>
                      <a:pt x="1289" y="90"/>
                    </a:lnTo>
                    <a:close/>
                    <a:moveTo>
                      <a:pt x="1174" y="40"/>
                    </a:moveTo>
                    <a:cubicBezTo>
                      <a:pt x="1178" y="36"/>
                      <a:pt x="1182" y="34"/>
                      <a:pt x="1189" y="34"/>
                    </a:cubicBezTo>
                    <a:cubicBezTo>
                      <a:pt x="1195" y="34"/>
                      <a:pt x="1200" y="36"/>
                      <a:pt x="1203" y="40"/>
                    </a:cubicBezTo>
                    <a:cubicBezTo>
                      <a:pt x="1206" y="44"/>
                      <a:pt x="1208" y="50"/>
                      <a:pt x="1208" y="58"/>
                    </a:cubicBezTo>
                    <a:cubicBezTo>
                      <a:pt x="1208" y="66"/>
                      <a:pt x="1206" y="73"/>
                      <a:pt x="1203" y="77"/>
                    </a:cubicBezTo>
                    <a:cubicBezTo>
                      <a:pt x="1200" y="81"/>
                      <a:pt x="1195" y="83"/>
                      <a:pt x="1189" y="83"/>
                    </a:cubicBezTo>
                    <a:cubicBezTo>
                      <a:pt x="1183" y="83"/>
                      <a:pt x="1178" y="81"/>
                      <a:pt x="1175" y="77"/>
                    </a:cubicBezTo>
                    <a:cubicBezTo>
                      <a:pt x="1171" y="73"/>
                      <a:pt x="1170" y="66"/>
                      <a:pt x="1170" y="58"/>
                    </a:cubicBezTo>
                    <a:cubicBezTo>
                      <a:pt x="1170" y="50"/>
                      <a:pt x="1171" y="44"/>
                      <a:pt x="1174" y="40"/>
                    </a:cubicBezTo>
                    <a:close/>
                    <a:moveTo>
                      <a:pt x="1210" y="34"/>
                    </a:moveTo>
                    <a:cubicBezTo>
                      <a:pt x="1205" y="29"/>
                      <a:pt x="1198" y="26"/>
                      <a:pt x="1189" y="26"/>
                    </a:cubicBezTo>
                    <a:cubicBezTo>
                      <a:pt x="1180" y="26"/>
                      <a:pt x="1173" y="29"/>
                      <a:pt x="1168" y="34"/>
                    </a:cubicBezTo>
                    <a:cubicBezTo>
                      <a:pt x="1162" y="40"/>
                      <a:pt x="1160" y="48"/>
                      <a:pt x="1160" y="58"/>
                    </a:cubicBezTo>
                    <a:cubicBezTo>
                      <a:pt x="1160" y="65"/>
                      <a:pt x="1161" y="71"/>
                      <a:pt x="1163" y="76"/>
                    </a:cubicBezTo>
                    <a:cubicBezTo>
                      <a:pt x="1166" y="81"/>
                      <a:pt x="1169" y="84"/>
                      <a:pt x="1174" y="87"/>
                    </a:cubicBezTo>
                    <a:cubicBezTo>
                      <a:pt x="1178" y="90"/>
                      <a:pt x="1183" y="91"/>
                      <a:pt x="1189" y="91"/>
                    </a:cubicBezTo>
                    <a:cubicBezTo>
                      <a:pt x="1198" y="91"/>
                      <a:pt x="1205" y="88"/>
                      <a:pt x="1210" y="82"/>
                    </a:cubicBezTo>
                    <a:cubicBezTo>
                      <a:pt x="1215" y="77"/>
                      <a:pt x="1218" y="69"/>
                      <a:pt x="1218" y="58"/>
                    </a:cubicBezTo>
                    <a:cubicBezTo>
                      <a:pt x="1218" y="48"/>
                      <a:pt x="1215" y="40"/>
                      <a:pt x="1210" y="34"/>
                    </a:cubicBezTo>
                    <a:close/>
                    <a:moveTo>
                      <a:pt x="1133" y="14"/>
                    </a:moveTo>
                    <a:cubicBezTo>
                      <a:pt x="1134" y="16"/>
                      <a:pt x="1135" y="16"/>
                      <a:pt x="1137" y="16"/>
                    </a:cubicBezTo>
                    <a:cubicBezTo>
                      <a:pt x="1138" y="16"/>
                      <a:pt x="1139" y="16"/>
                      <a:pt x="1141" y="14"/>
                    </a:cubicBezTo>
                    <a:cubicBezTo>
                      <a:pt x="1142" y="13"/>
                      <a:pt x="1142" y="12"/>
                      <a:pt x="1142" y="10"/>
                    </a:cubicBezTo>
                    <a:cubicBezTo>
                      <a:pt x="1142" y="8"/>
                      <a:pt x="1142" y="6"/>
                      <a:pt x="1141" y="5"/>
                    </a:cubicBezTo>
                    <a:cubicBezTo>
                      <a:pt x="1139" y="4"/>
                      <a:pt x="1138" y="3"/>
                      <a:pt x="1137" y="3"/>
                    </a:cubicBezTo>
                    <a:cubicBezTo>
                      <a:pt x="1135" y="3"/>
                      <a:pt x="1134" y="4"/>
                      <a:pt x="1133" y="5"/>
                    </a:cubicBezTo>
                    <a:cubicBezTo>
                      <a:pt x="1131" y="6"/>
                      <a:pt x="1131" y="7"/>
                      <a:pt x="1131" y="10"/>
                    </a:cubicBezTo>
                    <a:cubicBezTo>
                      <a:pt x="1131" y="12"/>
                      <a:pt x="1131" y="13"/>
                      <a:pt x="1133" y="14"/>
                    </a:cubicBezTo>
                    <a:close/>
                    <a:moveTo>
                      <a:pt x="1141" y="27"/>
                    </a:moveTo>
                    <a:cubicBezTo>
                      <a:pt x="1132" y="27"/>
                      <a:pt x="1132" y="27"/>
                      <a:pt x="1132" y="27"/>
                    </a:cubicBezTo>
                    <a:cubicBezTo>
                      <a:pt x="1132" y="90"/>
                      <a:pt x="1132" y="90"/>
                      <a:pt x="1132" y="90"/>
                    </a:cubicBezTo>
                    <a:cubicBezTo>
                      <a:pt x="1141" y="90"/>
                      <a:pt x="1141" y="90"/>
                      <a:pt x="1141" y="90"/>
                    </a:cubicBezTo>
                    <a:lnTo>
                      <a:pt x="1141" y="27"/>
                    </a:lnTo>
                    <a:close/>
                    <a:moveTo>
                      <a:pt x="1101" y="80"/>
                    </a:moveTo>
                    <a:cubicBezTo>
                      <a:pt x="1099" y="78"/>
                      <a:pt x="1099" y="75"/>
                      <a:pt x="1099" y="71"/>
                    </a:cubicBezTo>
                    <a:cubicBezTo>
                      <a:pt x="1099" y="34"/>
                      <a:pt x="1099" y="34"/>
                      <a:pt x="1099" y="34"/>
                    </a:cubicBezTo>
                    <a:cubicBezTo>
                      <a:pt x="1117" y="34"/>
                      <a:pt x="1117" y="34"/>
                      <a:pt x="1117" y="34"/>
                    </a:cubicBezTo>
                    <a:cubicBezTo>
                      <a:pt x="1117" y="27"/>
                      <a:pt x="1117" y="27"/>
                      <a:pt x="1117" y="27"/>
                    </a:cubicBezTo>
                    <a:cubicBezTo>
                      <a:pt x="1099" y="27"/>
                      <a:pt x="1099" y="27"/>
                      <a:pt x="1099" y="27"/>
                    </a:cubicBezTo>
                    <a:cubicBezTo>
                      <a:pt x="1099" y="12"/>
                      <a:pt x="1099" y="12"/>
                      <a:pt x="1099" y="12"/>
                    </a:cubicBezTo>
                    <a:cubicBezTo>
                      <a:pt x="1093" y="12"/>
                      <a:pt x="1093" y="12"/>
                      <a:pt x="1093" y="12"/>
                    </a:cubicBezTo>
                    <a:cubicBezTo>
                      <a:pt x="1089" y="26"/>
                      <a:pt x="1089" y="26"/>
                      <a:pt x="1089" y="26"/>
                    </a:cubicBezTo>
                    <a:cubicBezTo>
                      <a:pt x="1080" y="30"/>
                      <a:pt x="1080" y="30"/>
                      <a:pt x="1080" y="30"/>
                    </a:cubicBezTo>
                    <a:cubicBezTo>
                      <a:pt x="1080" y="34"/>
                      <a:pt x="1080" y="34"/>
                      <a:pt x="1080" y="34"/>
                    </a:cubicBezTo>
                    <a:cubicBezTo>
                      <a:pt x="1089" y="34"/>
                      <a:pt x="1089" y="34"/>
                      <a:pt x="1089" y="34"/>
                    </a:cubicBezTo>
                    <a:cubicBezTo>
                      <a:pt x="1089" y="72"/>
                      <a:pt x="1089" y="72"/>
                      <a:pt x="1089" y="72"/>
                    </a:cubicBezTo>
                    <a:cubicBezTo>
                      <a:pt x="1089" y="85"/>
                      <a:pt x="1095" y="91"/>
                      <a:pt x="1107" y="91"/>
                    </a:cubicBezTo>
                    <a:cubicBezTo>
                      <a:pt x="1109" y="91"/>
                      <a:pt x="1111" y="91"/>
                      <a:pt x="1113" y="91"/>
                    </a:cubicBezTo>
                    <a:cubicBezTo>
                      <a:pt x="1115" y="90"/>
                      <a:pt x="1116" y="90"/>
                      <a:pt x="1117" y="89"/>
                    </a:cubicBezTo>
                    <a:cubicBezTo>
                      <a:pt x="1117" y="82"/>
                      <a:pt x="1117" y="82"/>
                      <a:pt x="1117" y="82"/>
                    </a:cubicBezTo>
                    <a:cubicBezTo>
                      <a:pt x="1116" y="82"/>
                      <a:pt x="1115" y="83"/>
                      <a:pt x="1114" y="83"/>
                    </a:cubicBezTo>
                    <a:cubicBezTo>
                      <a:pt x="1112" y="83"/>
                      <a:pt x="1110" y="83"/>
                      <a:pt x="1109" y="83"/>
                    </a:cubicBezTo>
                    <a:cubicBezTo>
                      <a:pt x="1106" y="83"/>
                      <a:pt x="1103" y="82"/>
                      <a:pt x="1101" y="80"/>
                    </a:cubicBezTo>
                    <a:close/>
                    <a:moveTo>
                      <a:pt x="1013" y="27"/>
                    </a:moveTo>
                    <a:cubicBezTo>
                      <a:pt x="1013" y="68"/>
                      <a:pt x="1013" y="68"/>
                      <a:pt x="1013" y="68"/>
                    </a:cubicBezTo>
                    <a:cubicBezTo>
                      <a:pt x="1013" y="76"/>
                      <a:pt x="1015" y="82"/>
                      <a:pt x="1019" y="86"/>
                    </a:cubicBezTo>
                    <a:cubicBezTo>
                      <a:pt x="1023" y="89"/>
                      <a:pt x="1029" y="91"/>
                      <a:pt x="1036" y="91"/>
                    </a:cubicBezTo>
                    <a:cubicBezTo>
                      <a:pt x="1041" y="91"/>
                      <a:pt x="1045" y="90"/>
                      <a:pt x="1048" y="89"/>
                    </a:cubicBezTo>
                    <a:cubicBezTo>
                      <a:pt x="1052" y="87"/>
                      <a:pt x="1054" y="85"/>
                      <a:pt x="1056" y="81"/>
                    </a:cubicBezTo>
                    <a:cubicBezTo>
                      <a:pt x="1057" y="81"/>
                      <a:pt x="1057" y="81"/>
                      <a:pt x="1057" y="81"/>
                    </a:cubicBezTo>
                    <a:cubicBezTo>
                      <a:pt x="1058" y="90"/>
                      <a:pt x="1058" y="90"/>
                      <a:pt x="1058" y="90"/>
                    </a:cubicBezTo>
                    <a:cubicBezTo>
                      <a:pt x="1066" y="90"/>
                      <a:pt x="1066" y="90"/>
                      <a:pt x="1066" y="90"/>
                    </a:cubicBezTo>
                    <a:cubicBezTo>
                      <a:pt x="1066" y="27"/>
                      <a:pt x="1066" y="27"/>
                      <a:pt x="1066" y="27"/>
                    </a:cubicBezTo>
                    <a:cubicBezTo>
                      <a:pt x="1057" y="27"/>
                      <a:pt x="1057" y="27"/>
                      <a:pt x="1057" y="27"/>
                    </a:cubicBezTo>
                    <a:cubicBezTo>
                      <a:pt x="1057" y="60"/>
                      <a:pt x="1057" y="60"/>
                      <a:pt x="1057" y="60"/>
                    </a:cubicBezTo>
                    <a:cubicBezTo>
                      <a:pt x="1057" y="68"/>
                      <a:pt x="1055" y="74"/>
                      <a:pt x="1052" y="78"/>
                    </a:cubicBezTo>
                    <a:cubicBezTo>
                      <a:pt x="1049" y="81"/>
                      <a:pt x="1044" y="83"/>
                      <a:pt x="1038" y="83"/>
                    </a:cubicBezTo>
                    <a:cubicBezTo>
                      <a:pt x="1033" y="83"/>
                      <a:pt x="1029" y="82"/>
                      <a:pt x="1027" y="79"/>
                    </a:cubicBezTo>
                    <a:cubicBezTo>
                      <a:pt x="1024" y="77"/>
                      <a:pt x="1023" y="73"/>
                      <a:pt x="1023" y="68"/>
                    </a:cubicBezTo>
                    <a:cubicBezTo>
                      <a:pt x="1023" y="27"/>
                      <a:pt x="1023" y="27"/>
                      <a:pt x="1023" y="27"/>
                    </a:cubicBezTo>
                    <a:lnTo>
                      <a:pt x="1013" y="27"/>
                    </a:lnTo>
                    <a:close/>
                    <a:moveTo>
                      <a:pt x="992" y="0"/>
                    </a:moveTo>
                    <a:cubicBezTo>
                      <a:pt x="982" y="0"/>
                      <a:pt x="982" y="0"/>
                      <a:pt x="982" y="0"/>
                    </a:cubicBezTo>
                    <a:cubicBezTo>
                      <a:pt x="982" y="90"/>
                      <a:pt x="982" y="90"/>
                      <a:pt x="982" y="90"/>
                    </a:cubicBezTo>
                    <a:cubicBezTo>
                      <a:pt x="992" y="90"/>
                      <a:pt x="992" y="90"/>
                      <a:pt x="992" y="90"/>
                    </a:cubicBezTo>
                    <a:lnTo>
                      <a:pt x="992" y="0"/>
                    </a:lnTo>
                    <a:close/>
                    <a:moveTo>
                      <a:pt x="921" y="40"/>
                    </a:moveTo>
                    <a:cubicBezTo>
                      <a:pt x="924" y="36"/>
                      <a:pt x="929" y="34"/>
                      <a:pt x="935" y="34"/>
                    </a:cubicBezTo>
                    <a:cubicBezTo>
                      <a:pt x="941" y="34"/>
                      <a:pt x="946" y="36"/>
                      <a:pt x="949" y="40"/>
                    </a:cubicBezTo>
                    <a:cubicBezTo>
                      <a:pt x="952" y="44"/>
                      <a:pt x="954" y="50"/>
                      <a:pt x="954" y="58"/>
                    </a:cubicBezTo>
                    <a:cubicBezTo>
                      <a:pt x="954" y="66"/>
                      <a:pt x="952" y="73"/>
                      <a:pt x="949" y="77"/>
                    </a:cubicBezTo>
                    <a:cubicBezTo>
                      <a:pt x="946" y="81"/>
                      <a:pt x="941" y="83"/>
                      <a:pt x="935" y="83"/>
                    </a:cubicBezTo>
                    <a:cubicBezTo>
                      <a:pt x="929" y="83"/>
                      <a:pt x="924" y="81"/>
                      <a:pt x="921" y="77"/>
                    </a:cubicBezTo>
                    <a:cubicBezTo>
                      <a:pt x="917" y="73"/>
                      <a:pt x="916" y="66"/>
                      <a:pt x="916" y="58"/>
                    </a:cubicBezTo>
                    <a:cubicBezTo>
                      <a:pt x="916" y="50"/>
                      <a:pt x="917" y="44"/>
                      <a:pt x="921" y="40"/>
                    </a:cubicBezTo>
                    <a:close/>
                    <a:moveTo>
                      <a:pt x="956" y="34"/>
                    </a:moveTo>
                    <a:cubicBezTo>
                      <a:pt x="951" y="29"/>
                      <a:pt x="944" y="26"/>
                      <a:pt x="935" y="26"/>
                    </a:cubicBezTo>
                    <a:cubicBezTo>
                      <a:pt x="926" y="26"/>
                      <a:pt x="919" y="29"/>
                      <a:pt x="914" y="34"/>
                    </a:cubicBezTo>
                    <a:cubicBezTo>
                      <a:pt x="908" y="40"/>
                      <a:pt x="906" y="48"/>
                      <a:pt x="906" y="58"/>
                    </a:cubicBezTo>
                    <a:cubicBezTo>
                      <a:pt x="906" y="65"/>
                      <a:pt x="907" y="71"/>
                      <a:pt x="909" y="76"/>
                    </a:cubicBezTo>
                    <a:cubicBezTo>
                      <a:pt x="912" y="81"/>
                      <a:pt x="915" y="84"/>
                      <a:pt x="920" y="87"/>
                    </a:cubicBezTo>
                    <a:cubicBezTo>
                      <a:pt x="924" y="90"/>
                      <a:pt x="929" y="91"/>
                      <a:pt x="935" y="91"/>
                    </a:cubicBezTo>
                    <a:cubicBezTo>
                      <a:pt x="944" y="91"/>
                      <a:pt x="951" y="88"/>
                      <a:pt x="956" y="82"/>
                    </a:cubicBezTo>
                    <a:cubicBezTo>
                      <a:pt x="961" y="77"/>
                      <a:pt x="964" y="69"/>
                      <a:pt x="964" y="58"/>
                    </a:cubicBezTo>
                    <a:cubicBezTo>
                      <a:pt x="964" y="48"/>
                      <a:pt x="961" y="40"/>
                      <a:pt x="956" y="34"/>
                    </a:cubicBezTo>
                    <a:close/>
                    <a:moveTo>
                      <a:pt x="874" y="90"/>
                    </a:moveTo>
                    <a:cubicBezTo>
                      <a:pt x="898" y="27"/>
                      <a:pt x="898" y="27"/>
                      <a:pt x="898" y="27"/>
                    </a:cubicBezTo>
                    <a:cubicBezTo>
                      <a:pt x="887" y="27"/>
                      <a:pt x="887" y="27"/>
                      <a:pt x="887" y="27"/>
                    </a:cubicBezTo>
                    <a:cubicBezTo>
                      <a:pt x="879" y="48"/>
                      <a:pt x="874" y="62"/>
                      <a:pt x="872" y="69"/>
                    </a:cubicBezTo>
                    <a:cubicBezTo>
                      <a:pt x="870" y="75"/>
                      <a:pt x="869" y="79"/>
                      <a:pt x="868" y="81"/>
                    </a:cubicBezTo>
                    <a:cubicBezTo>
                      <a:pt x="868" y="81"/>
                      <a:pt x="868" y="81"/>
                      <a:pt x="868" y="81"/>
                    </a:cubicBezTo>
                    <a:cubicBezTo>
                      <a:pt x="867" y="79"/>
                      <a:pt x="865" y="73"/>
                      <a:pt x="862" y="64"/>
                    </a:cubicBezTo>
                    <a:cubicBezTo>
                      <a:pt x="849" y="27"/>
                      <a:pt x="849" y="27"/>
                      <a:pt x="849" y="27"/>
                    </a:cubicBezTo>
                    <a:cubicBezTo>
                      <a:pt x="838" y="27"/>
                      <a:pt x="838" y="27"/>
                      <a:pt x="838" y="27"/>
                    </a:cubicBezTo>
                    <a:cubicBezTo>
                      <a:pt x="862" y="90"/>
                      <a:pt x="862" y="90"/>
                      <a:pt x="862" y="90"/>
                    </a:cubicBezTo>
                    <a:lnTo>
                      <a:pt x="874" y="90"/>
                    </a:lnTo>
                    <a:close/>
                    <a:moveTo>
                      <a:pt x="830" y="81"/>
                    </a:moveTo>
                    <a:cubicBezTo>
                      <a:pt x="792" y="81"/>
                      <a:pt x="792" y="81"/>
                      <a:pt x="792" y="81"/>
                    </a:cubicBezTo>
                    <a:cubicBezTo>
                      <a:pt x="792" y="50"/>
                      <a:pt x="792" y="50"/>
                      <a:pt x="792" y="50"/>
                    </a:cubicBezTo>
                    <a:cubicBezTo>
                      <a:pt x="827" y="50"/>
                      <a:pt x="827" y="50"/>
                      <a:pt x="827" y="50"/>
                    </a:cubicBezTo>
                    <a:cubicBezTo>
                      <a:pt x="827" y="42"/>
                      <a:pt x="827" y="42"/>
                      <a:pt x="827" y="42"/>
                    </a:cubicBezTo>
                    <a:cubicBezTo>
                      <a:pt x="792" y="42"/>
                      <a:pt x="792" y="42"/>
                      <a:pt x="792" y="42"/>
                    </a:cubicBezTo>
                    <a:cubicBezTo>
                      <a:pt x="792" y="14"/>
                      <a:pt x="792" y="14"/>
                      <a:pt x="792" y="14"/>
                    </a:cubicBezTo>
                    <a:cubicBezTo>
                      <a:pt x="830" y="14"/>
                      <a:pt x="830" y="14"/>
                      <a:pt x="830" y="14"/>
                    </a:cubicBezTo>
                    <a:cubicBezTo>
                      <a:pt x="830" y="6"/>
                      <a:pt x="830" y="6"/>
                      <a:pt x="830" y="6"/>
                    </a:cubicBezTo>
                    <a:cubicBezTo>
                      <a:pt x="783" y="6"/>
                      <a:pt x="783" y="6"/>
                      <a:pt x="783" y="6"/>
                    </a:cubicBezTo>
                    <a:cubicBezTo>
                      <a:pt x="783" y="90"/>
                      <a:pt x="783" y="90"/>
                      <a:pt x="783" y="90"/>
                    </a:cubicBezTo>
                    <a:cubicBezTo>
                      <a:pt x="830" y="90"/>
                      <a:pt x="830" y="90"/>
                      <a:pt x="830" y="90"/>
                    </a:cubicBezTo>
                    <a:lnTo>
                      <a:pt x="830" y="81"/>
                    </a:lnTo>
                    <a:close/>
                    <a:moveTo>
                      <a:pt x="727" y="90"/>
                    </a:moveTo>
                    <a:cubicBezTo>
                      <a:pt x="727" y="49"/>
                      <a:pt x="727" y="49"/>
                      <a:pt x="727" y="49"/>
                    </a:cubicBezTo>
                    <a:cubicBezTo>
                      <a:pt x="727" y="41"/>
                      <a:pt x="725" y="35"/>
                      <a:pt x="722" y="31"/>
                    </a:cubicBezTo>
                    <a:cubicBezTo>
                      <a:pt x="718" y="28"/>
                      <a:pt x="712" y="26"/>
                      <a:pt x="704" y="26"/>
                    </a:cubicBezTo>
                    <a:cubicBezTo>
                      <a:pt x="700" y="26"/>
                      <a:pt x="696" y="27"/>
                      <a:pt x="692" y="28"/>
                    </a:cubicBezTo>
                    <a:cubicBezTo>
                      <a:pt x="689" y="30"/>
                      <a:pt x="686" y="33"/>
                      <a:pt x="684" y="36"/>
                    </a:cubicBezTo>
                    <a:cubicBezTo>
                      <a:pt x="684" y="36"/>
                      <a:pt x="684" y="36"/>
                      <a:pt x="684" y="36"/>
                    </a:cubicBezTo>
                    <a:cubicBezTo>
                      <a:pt x="684" y="33"/>
                      <a:pt x="684" y="31"/>
                      <a:pt x="684" y="27"/>
                    </a:cubicBezTo>
                    <a:cubicBezTo>
                      <a:pt x="684" y="0"/>
                      <a:pt x="684" y="0"/>
                      <a:pt x="684" y="0"/>
                    </a:cubicBezTo>
                    <a:cubicBezTo>
                      <a:pt x="675" y="0"/>
                      <a:pt x="675" y="0"/>
                      <a:pt x="675" y="0"/>
                    </a:cubicBezTo>
                    <a:cubicBezTo>
                      <a:pt x="675" y="90"/>
                      <a:pt x="675" y="90"/>
                      <a:pt x="675" y="90"/>
                    </a:cubicBezTo>
                    <a:cubicBezTo>
                      <a:pt x="684" y="90"/>
                      <a:pt x="684" y="90"/>
                      <a:pt x="684" y="90"/>
                    </a:cubicBezTo>
                    <a:cubicBezTo>
                      <a:pt x="684" y="57"/>
                      <a:pt x="684" y="57"/>
                      <a:pt x="684" y="57"/>
                    </a:cubicBezTo>
                    <a:cubicBezTo>
                      <a:pt x="684" y="49"/>
                      <a:pt x="686" y="43"/>
                      <a:pt x="689" y="39"/>
                    </a:cubicBezTo>
                    <a:cubicBezTo>
                      <a:pt x="692" y="36"/>
                      <a:pt x="697" y="34"/>
                      <a:pt x="703" y="34"/>
                    </a:cubicBezTo>
                    <a:cubicBezTo>
                      <a:pt x="708" y="34"/>
                      <a:pt x="712" y="35"/>
                      <a:pt x="714" y="38"/>
                    </a:cubicBezTo>
                    <a:cubicBezTo>
                      <a:pt x="717" y="40"/>
                      <a:pt x="718" y="44"/>
                      <a:pt x="718" y="49"/>
                    </a:cubicBezTo>
                    <a:cubicBezTo>
                      <a:pt x="718" y="90"/>
                      <a:pt x="718" y="90"/>
                      <a:pt x="718" y="90"/>
                    </a:cubicBezTo>
                    <a:lnTo>
                      <a:pt x="727" y="90"/>
                    </a:lnTo>
                    <a:close/>
                    <a:moveTo>
                      <a:pt x="644" y="80"/>
                    </a:moveTo>
                    <a:cubicBezTo>
                      <a:pt x="642" y="78"/>
                      <a:pt x="641" y="75"/>
                      <a:pt x="641" y="71"/>
                    </a:cubicBezTo>
                    <a:cubicBezTo>
                      <a:pt x="641" y="34"/>
                      <a:pt x="641" y="34"/>
                      <a:pt x="641" y="34"/>
                    </a:cubicBezTo>
                    <a:cubicBezTo>
                      <a:pt x="660" y="34"/>
                      <a:pt x="660" y="34"/>
                      <a:pt x="660" y="34"/>
                    </a:cubicBezTo>
                    <a:cubicBezTo>
                      <a:pt x="660" y="27"/>
                      <a:pt x="660" y="27"/>
                      <a:pt x="660" y="27"/>
                    </a:cubicBezTo>
                    <a:cubicBezTo>
                      <a:pt x="641" y="27"/>
                      <a:pt x="641" y="27"/>
                      <a:pt x="641" y="27"/>
                    </a:cubicBezTo>
                    <a:cubicBezTo>
                      <a:pt x="641" y="12"/>
                      <a:pt x="641" y="12"/>
                      <a:pt x="641" y="12"/>
                    </a:cubicBezTo>
                    <a:cubicBezTo>
                      <a:pt x="636" y="12"/>
                      <a:pt x="636" y="12"/>
                      <a:pt x="636" y="12"/>
                    </a:cubicBezTo>
                    <a:cubicBezTo>
                      <a:pt x="632" y="26"/>
                      <a:pt x="632" y="26"/>
                      <a:pt x="632" y="26"/>
                    </a:cubicBezTo>
                    <a:cubicBezTo>
                      <a:pt x="623" y="30"/>
                      <a:pt x="623" y="30"/>
                      <a:pt x="623" y="30"/>
                    </a:cubicBezTo>
                    <a:cubicBezTo>
                      <a:pt x="623" y="34"/>
                      <a:pt x="623" y="34"/>
                      <a:pt x="623" y="34"/>
                    </a:cubicBezTo>
                    <a:cubicBezTo>
                      <a:pt x="632" y="34"/>
                      <a:pt x="632" y="34"/>
                      <a:pt x="632" y="34"/>
                    </a:cubicBezTo>
                    <a:cubicBezTo>
                      <a:pt x="632" y="72"/>
                      <a:pt x="632" y="72"/>
                      <a:pt x="632" y="72"/>
                    </a:cubicBezTo>
                    <a:cubicBezTo>
                      <a:pt x="632" y="85"/>
                      <a:pt x="638" y="91"/>
                      <a:pt x="650" y="91"/>
                    </a:cubicBezTo>
                    <a:cubicBezTo>
                      <a:pt x="652" y="91"/>
                      <a:pt x="654" y="91"/>
                      <a:pt x="656" y="91"/>
                    </a:cubicBezTo>
                    <a:cubicBezTo>
                      <a:pt x="658" y="90"/>
                      <a:pt x="659" y="90"/>
                      <a:pt x="660" y="89"/>
                    </a:cubicBezTo>
                    <a:cubicBezTo>
                      <a:pt x="660" y="82"/>
                      <a:pt x="660" y="82"/>
                      <a:pt x="660" y="82"/>
                    </a:cubicBezTo>
                    <a:cubicBezTo>
                      <a:pt x="659" y="82"/>
                      <a:pt x="658" y="83"/>
                      <a:pt x="656" y="83"/>
                    </a:cubicBezTo>
                    <a:cubicBezTo>
                      <a:pt x="655" y="83"/>
                      <a:pt x="653" y="83"/>
                      <a:pt x="651" y="83"/>
                    </a:cubicBezTo>
                    <a:cubicBezTo>
                      <a:pt x="648" y="83"/>
                      <a:pt x="646" y="82"/>
                      <a:pt x="644" y="80"/>
                    </a:cubicBezTo>
                    <a:close/>
                    <a:moveTo>
                      <a:pt x="609" y="0"/>
                    </a:moveTo>
                    <a:cubicBezTo>
                      <a:pt x="599" y="0"/>
                      <a:pt x="599" y="0"/>
                      <a:pt x="599" y="0"/>
                    </a:cubicBezTo>
                    <a:cubicBezTo>
                      <a:pt x="599" y="90"/>
                      <a:pt x="599" y="90"/>
                      <a:pt x="599" y="90"/>
                    </a:cubicBezTo>
                    <a:cubicBezTo>
                      <a:pt x="609" y="90"/>
                      <a:pt x="609" y="90"/>
                      <a:pt x="609" y="90"/>
                    </a:cubicBezTo>
                    <a:lnTo>
                      <a:pt x="609" y="0"/>
                    </a:lnTo>
                    <a:close/>
                    <a:moveTo>
                      <a:pt x="541" y="81"/>
                    </a:moveTo>
                    <a:cubicBezTo>
                      <a:pt x="538" y="79"/>
                      <a:pt x="537" y="76"/>
                      <a:pt x="537" y="73"/>
                    </a:cubicBezTo>
                    <a:cubicBezTo>
                      <a:pt x="537" y="68"/>
                      <a:pt x="539" y="65"/>
                      <a:pt x="542" y="63"/>
                    </a:cubicBezTo>
                    <a:cubicBezTo>
                      <a:pt x="546" y="61"/>
                      <a:pt x="551" y="60"/>
                      <a:pt x="559" y="59"/>
                    </a:cubicBezTo>
                    <a:cubicBezTo>
                      <a:pt x="568" y="59"/>
                      <a:pt x="568" y="59"/>
                      <a:pt x="568" y="59"/>
                    </a:cubicBezTo>
                    <a:cubicBezTo>
                      <a:pt x="568" y="65"/>
                      <a:pt x="568" y="65"/>
                      <a:pt x="568" y="65"/>
                    </a:cubicBezTo>
                    <a:cubicBezTo>
                      <a:pt x="568" y="70"/>
                      <a:pt x="567" y="75"/>
                      <a:pt x="563" y="78"/>
                    </a:cubicBezTo>
                    <a:cubicBezTo>
                      <a:pt x="560" y="82"/>
                      <a:pt x="555" y="83"/>
                      <a:pt x="549" y="83"/>
                    </a:cubicBezTo>
                    <a:cubicBezTo>
                      <a:pt x="546" y="83"/>
                      <a:pt x="543" y="82"/>
                      <a:pt x="541" y="81"/>
                    </a:cubicBezTo>
                    <a:close/>
                    <a:moveTo>
                      <a:pt x="578" y="90"/>
                    </a:moveTo>
                    <a:cubicBezTo>
                      <a:pt x="578" y="47"/>
                      <a:pt x="578" y="47"/>
                      <a:pt x="578" y="47"/>
                    </a:cubicBezTo>
                    <a:cubicBezTo>
                      <a:pt x="578" y="39"/>
                      <a:pt x="576" y="34"/>
                      <a:pt x="573" y="31"/>
                    </a:cubicBezTo>
                    <a:cubicBezTo>
                      <a:pt x="569" y="27"/>
                      <a:pt x="563" y="26"/>
                      <a:pt x="556" y="26"/>
                    </a:cubicBezTo>
                    <a:cubicBezTo>
                      <a:pt x="552" y="26"/>
                      <a:pt x="548" y="26"/>
                      <a:pt x="545" y="27"/>
                    </a:cubicBezTo>
                    <a:cubicBezTo>
                      <a:pt x="541" y="28"/>
                      <a:pt x="538" y="29"/>
                      <a:pt x="534" y="31"/>
                    </a:cubicBezTo>
                    <a:cubicBezTo>
                      <a:pt x="537" y="38"/>
                      <a:pt x="537" y="38"/>
                      <a:pt x="537" y="38"/>
                    </a:cubicBezTo>
                    <a:cubicBezTo>
                      <a:pt x="544" y="35"/>
                      <a:pt x="550" y="34"/>
                      <a:pt x="555" y="34"/>
                    </a:cubicBezTo>
                    <a:cubicBezTo>
                      <a:pt x="560" y="34"/>
                      <a:pt x="563" y="35"/>
                      <a:pt x="565" y="37"/>
                    </a:cubicBezTo>
                    <a:cubicBezTo>
                      <a:pt x="568" y="40"/>
                      <a:pt x="569" y="43"/>
                      <a:pt x="569" y="48"/>
                    </a:cubicBezTo>
                    <a:cubicBezTo>
                      <a:pt x="569" y="52"/>
                      <a:pt x="569" y="52"/>
                      <a:pt x="569" y="52"/>
                    </a:cubicBezTo>
                    <a:cubicBezTo>
                      <a:pt x="558" y="52"/>
                      <a:pt x="558" y="52"/>
                      <a:pt x="558" y="52"/>
                    </a:cubicBezTo>
                    <a:cubicBezTo>
                      <a:pt x="538" y="53"/>
                      <a:pt x="527" y="60"/>
                      <a:pt x="527" y="72"/>
                    </a:cubicBezTo>
                    <a:cubicBezTo>
                      <a:pt x="527" y="78"/>
                      <a:pt x="529" y="83"/>
                      <a:pt x="533" y="86"/>
                    </a:cubicBezTo>
                    <a:cubicBezTo>
                      <a:pt x="536" y="89"/>
                      <a:pt x="541" y="91"/>
                      <a:pt x="547" y="91"/>
                    </a:cubicBezTo>
                    <a:cubicBezTo>
                      <a:pt x="552" y="91"/>
                      <a:pt x="556" y="90"/>
                      <a:pt x="559" y="89"/>
                    </a:cubicBezTo>
                    <a:cubicBezTo>
                      <a:pt x="562" y="88"/>
                      <a:pt x="565" y="85"/>
                      <a:pt x="569" y="81"/>
                    </a:cubicBezTo>
                    <a:cubicBezTo>
                      <a:pt x="569" y="81"/>
                      <a:pt x="569" y="81"/>
                      <a:pt x="569" y="81"/>
                    </a:cubicBezTo>
                    <a:cubicBezTo>
                      <a:pt x="571" y="90"/>
                      <a:pt x="571" y="90"/>
                      <a:pt x="571" y="90"/>
                    </a:cubicBezTo>
                    <a:lnTo>
                      <a:pt x="578" y="90"/>
                    </a:lnTo>
                    <a:close/>
                    <a:moveTo>
                      <a:pt x="500" y="38"/>
                    </a:moveTo>
                    <a:cubicBezTo>
                      <a:pt x="502" y="42"/>
                      <a:pt x="504" y="46"/>
                      <a:pt x="504" y="52"/>
                    </a:cubicBezTo>
                    <a:cubicBezTo>
                      <a:pt x="471" y="52"/>
                      <a:pt x="471" y="52"/>
                      <a:pt x="471" y="52"/>
                    </a:cubicBezTo>
                    <a:cubicBezTo>
                      <a:pt x="471" y="46"/>
                      <a:pt x="473" y="42"/>
                      <a:pt x="476" y="39"/>
                    </a:cubicBezTo>
                    <a:cubicBezTo>
                      <a:pt x="479" y="35"/>
                      <a:pt x="483" y="34"/>
                      <a:pt x="488" y="34"/>
                    </a:cubicBezTo>
                    <a:cubicBezTo>
                      <a:pt x="493" y="34"/>
                      <a:pt x="497" y="35"/>
                      <a:pt x="500" y="38"/>
                    </a:cubicBezTo>
                    <a:close/>
                    <a:moveTo>
                      <a:pt x="502" y="90"/>
                    </a:moveTo>
                    <a:cubicBezTo>
                      <a:pt x="505" y="90"/>
                      <a:pt x="508" y="88"/>
                      <a:pt x="511" y="87"/>
                    </a:cubicBezTo>
                    <a:cubicBezTo>
                      <a:pt x="511" y="78"/>
                      <a:pt x="511" y="78"/>
                      <a:pt x="511" y="78"/>
                    </a:cubicBezTo>
                    <a:cubicBezTo>
                      <a:pt x="505" y="81"/>
                      <a:pt x="498" y="83"/>
                      <a:pt x="491" y="83"/>
                    </a:cubicBezTo>
                    <a:cubicBezTo>
                      <a:pt x="485" y="83"/>
                      <a:pt x="480" y="81"/>
                      <a:pt x="476" y="77"/>
                    </a:cubicBezTo>
                    <a:cubicBezTo>
                      <a:pt x="473" y="73"/>
                      <a:pt x="471" y="68"/>
                      <a:pt x="471" y="60"/>
                    </a:cubicBezTo>
                    <a:cubicBezTo>
                      <a:pt x="514" y="60"/>
                      <a:pt x="514" y="60"/>
                      <a:pt x="514" y="60"/>
                    </a:cubicBezTo>
                    <a:cubicBezTo>
                      <a:pt x="514" y="54"/>
                      <a:pt x="514" y="54"/>
                      <a:pt x="514" y="54"/>
                    </a:cubicBezTo>
                    <a:cubicBezTo>
                      <a:pt x="514" y="46"/>
                      <a:pt x="512" y="39"/>
                      <a:pt x="507" y="33"/>
                    </a:cubicBezTo>
                    <a:cubicBezTo>
                      <a:pt x="502" y="28"/>
                      <a:pt x="496" y="26"/>
                      <a:pt x="488" y="26"/>
                    </a:cubicBezTo>
                    <a:cubicBezTo>
                      <a:pt x="480" y="26"/>
                      <a:pt x="473" y="29"/>
                      <a:pt x="468" y="35"/>
                    </a:cubicBezTo>
                    <a:cubicBezTo>
                      <a:pt x="463" y="41"/>
                      <a:pt x="461" y="49"/>
                      <a:pt x="461" y="59"/>
                    </a:cubicBezTo>
                    <a:cubicBezTo>
                      <a:pt x="461" y="69"/>
                      <a:pt x="463" y="77"/>
                      <a:pt x="469" y="83"/>
                    </a:cubicBezTo>
                    <a:cubicBezTo>
                      <a:pt x="474" y="88"/>
                      <a:pt x="481" y="91"/>
                      <a:pt x="491" y="91"/>
                    </a:cubicBezTo>
                    <a:cubicBezTo>
                      <a:pt x="495" y="91"/>
                      <a:pt x="499" y="91"/>
                      <a:pt x="502" y="90"/>
                    </a:cubicBezTo>
                    <a:close/>
                    <a:moveTo>
                      <a:pt x="441" y="6"/>
                    </a:moveTo>
                    <a:cubicBezTo>
                      <a:pt x="431" y="6"/>
                      <a:pt x="431" y="6"/>
                      <a:pt x="431" y="6"/>
                    </a:cubicBezTo>
                    <a:cubicBezTo>
                      <a:pt x="431" y="42"/>
                      <a:pt x="431" y="42"/>
                      <a:pt x="431" y="42"/>
                    </a:cubicBezTo>
                    <a:cubicBezTo>
                      <a:pt x="387" y="42"/>
                      <a:pt x="387" y="42"/>
                      <a:pt x="387" y="42"/>
                    </a:cubicBezTo>
                    <a:cubicBezTo>
                      <a:pt x="387" y="6"/>
                      <a:pt x="387" y="6"/>
                      <a:pt x="387" y="6"/>
                    </a:cubicBezTo>
                    <a:cubicBezTo>
                      <a:pt x="377" y="6"/>
                      <a:pt x="377" y="6"/>
                      <a:pt x="377" y="6"/>
                    </a:cubicBezTo>
                    <a:cubicBezTo>
                      <a:pt x="377" y="90"/>
                      <a:pt x="377" y="90"/>
                      <a:pt x="377" y="90"/>
                    </a:cubicBezTo>
                    <a:cubicBezTo>
                      <a:pt x="387" y="90"/>
                      <a:pt x="387" y="90"/>
                      <a:pt x="387" y="90"/>
                    </a:cubicBezTo>
                    <a:cubicBezTo>
                      <a:pt x="387" y="50"/>
                      <a:pt x="387" y="50"/>
                      <a:pt x="387" y="50"/>
                    </a:cubicBezTo>
                    <a:cubicBezTo>
                      <a:pt x="431" y="50"/>
                      <a:pt x="431" y="50"/>
                      <a:pt x="431" y="50"/>
                    </a:cubicBezTo>
                    <a:cubicBezTo>
                      <a:pt x="431" y="90"/>
                      <a:pt x="431" y="90"/>
                      <a:pt x="431" y="90"/>
                    </a:cubicBezTo>
                    <a:cubicBezTo>
                      <a:pt x="441" y="90"/>
                      <a:pt x="441" y="90"/>
                      <a:pt x="441" y="90"/>
                    </a:cubicBezTo>
                    <a:lnTo>
                      <a:pt x="441" y="6"/>
                    </a:lnTo>
                    <a:close/>
                    <a:moveTo>
                      <a:pt x="312" y="80"/>
                    </a:moveTo>
                    <a:cubicBezTo>
                      <a:pt x="311" y="78"/>
                      <a:pt x="310" y="75"/>
                      <a:pt x="310" y="71"/>
                    </a:cubicBezTo>
                    <a:cubicBezTo>
                      <a:pt x="310" y="34"/>
                      <a:pt x="310" y="34"/>
                      <a:pt x="310" y="34"/>
                    </a:cubicBezTo>
                    <a:cubicBezTo>
                      <a:pt x="328" y="34"/>
                      <a:pt x="328" y="34"/>
                      <a:pt x="328" y="34"/>
                    </a:cubicBezTo>
                    <a:cubicBezTo>
                      <a:pt x="328" y="27"/>
                      <a:pt x="328" y="27"/>
                      <a:pt x="328" y="27"/>
                    </a:cubicBezTo>
                    <a:cubicBezTo>
                      <a:pt x="310" y="27"/>
                      <a:pt x="310" y="27"/>
                      <a:pt x="310" y="27"/>
                    </a:cubicBezTo>
                    <a:cubicBezTo>
                      <a:pt x="310" y="12"/>
                      <a:pt x="310" y="12"/>
                      <a:pt x="310" y="12"/>
                    </a:cubicBezTo>
                    <a:cubicBezTo>
                      <a:pt x="304" y="12"/>
                      <a:pt x="304" y="12"/>
                      <a:pt x="304" y="12"/>
                    </a:cubicBezTo>
                    <a:cubicBezTo>
                      <a:pt x="300" y="26"/>
                      <a:pt x="300" y="26"/>
                      <a:pt x="300" y="26"/>
                    </a:cubicBezTo>
                    <a:cubicBezTo>
                      <a:pt x="291" y="30"/>
                      <a:pt x="291" y="30"/>
                      <a:pt x="291" y="30"/>
                    </a:cubicBezTo>
                    <a:cubicBezTo>
                      <a:pt x="291" y="34"/>
                      <a:pt x="291" y="34"/>
                      <a:pt x="291" y="34"/>
                    </a:cubicBezTo>
                    <a:cubicBezTo>
                      <a:pt x="300" y="34"/>
                      <a:pt x="300" y="34"/>
                      <a:pt x="300" y="34"/>
                    </a:cubicBezTo>
                    <a:cubicBezTo>
                      <a:pt x="300" y="72"/>
                      <a:pt x="300" y="72"/>
                      <a:pt x="300" y="72"/>
                    </a:cubicBezTo>
                    <a:cubicBezTo>
                      <a:pt x="300" y="85"/>
                      <a:pt x="306" y="91"/>
                      <a:pt x="318" y="91"/>
                    </a:cubicBezTo>
                    <a:cubicBezTo>
                      <a:pt x="320" y="91"/>
                      <a:pt x="322" y="91"/>
                      <a:pt x="324" y="91"/>
                    </a:cubicBezTo>
                    <a:cubicBezTo>
                      <a:pt x="326" y="90"/>
                      <a:pt x="327" y="90"/>
                      <a:pt x="328" y="89"/>
                    </a:cubicBezTo>
                    <a:cubicBezTo>
                      <a:pt x="328" y="82"/>
                      <a:pt x="328" y="82"/>
                      <a:pt x="328" y="82"/>
                    </a:cubicBezTo>
                    <a:cubicBezTo>
                      <a:pt x="328" y="82"/>
                      <a:pt x="326" y="83"/>
                      <a:pt x="325" y="83"/>
                    </a:cubicBezTo>
                    <a:cubicBezTo>
                      <a:pt x="323" y="83"/>
                      <a:pt x="322" y="83"/>
                      <a:pt x="320" y="83"/>
                    </a:cubicBezTo>
                    <a:cubicBezTo>
                      <a:pt x="317" y="83"/>
                      <a:pt x="314" y="82"/>
                      <a:pt x="312" y="80"/>
                    </a:cubicBezTo>
                    <a:close/>
                    <a:moveTo>
                      <a:pt x="267" y="29"/>
                    </a:moveTo>
                    <a:cubicBezTo>
                      <a:pt x="264" y="31"/>
                      <a:pt x="261" y="34"/>
                      <a:pt x="259" y="38"/>
                    </a:cubicBezTo>
                    <a:cubicBezTo>
                      <a:pt x="258" y="38"/>
                      <a:pt x="258" y="38"/>
                      <a:pt x="258" y="38"/>
                    </a:cubicBezTo>
                    <a:cubicBezTo>
                      <a:pt x="257" y="27"/>
                      <a:pt x="257" y="27"/>
                      <a:pt x="257" y="27"/>
                    </a:cubicBezTo>
                    <a:cubicBezTo>
                      <a:pt x="249" y="27"/>
                      <a:pt x="249" y="27"/>
                      <a:pt x="249" y="27"/>
                    </a:cubicBezTo>
                    <a:cubicBezTo>
                      <a:pt x="249" y="90"/>
                      <a:pt x="249" y="90"/>
                      <a:pt x="249" y="90"/>
                    </a:cubicBezTo>
                    <a:cubicBezTo>
                      <a:pt x="259" y="90"/>
                      <a:pt x="259" y="90"/>
                      <a:pt x="259" y="90"/>
                    </a:cubicBezTo>
                    <a:cubicBezTo>
                      <a:pt x="259" y="56"/>
                      <a:pt x="259" y="56"/>
                      <a:pt x="259" y="56"/>
                    </a:cubicBezTo>
                    <a:cubicBezTo>
                      <a:pt x="259" y="50"/>
                      <a:pt x="261" y="45"/>
                      <a:pt x="265" y="41"/>
                    </a:cubicBezTo>
                    <a:cubicBezTo>
                      <a:pt x="268" y="36"/>
                      <a:pt x="273" y="34"/>
                      <a:pt x="278" y="34"/>
                    </a:cubicBezTo>
                    <a:cubicBezTo>
                      <a:pt x="280" y="34"/>
                      <a:pt x="282" y="35"/>
                      <a:pt x="285" y="35"/>
                    </a:cubicBezTo>
                    <a:cubicBezTo>
                      <a:pt x="286" y="26"/>
                      <a:pt x="286" y="26"/>
                      <a:pt x="286" y="26"/>
                    </a:cubicBezTo>
                    <a:cubicBezTo>
                      <a:pt x="284" y="26"/>
                      <a:pt x="281" y="26"/>
                      <a:pt x="278" y="26"/>
                    </a:cubicBezTo>
                    <a:cubicBezTo>
                      <a:pt x="274" y="26"/>
                      <a:pt x="271" y="27"/>
                      <a:pt x="267" y="29"/>
                    </a:cubicBezTo>
                    <a:close/>
                    <a:moveTo>
                      <a:pt x="191" y="81"/>
                    </a:moveTo>
                    <a:cubicBezTo>
                      <a:pt x="188" y="79"/>
                      <a:pt x="187" y="76"/>
                      <a:pt x="187" y="73"/>
                    </a:cubicBezTo>
                    <a:cubicBezTo>
                      <a:pt x="187" y="68"/>
                      <a:pt x="189" y="65"/>
                      <a:pt x="192" y="63"/>
                    </a:cubicBezTo>
                    <a:cubicBezTo>
                      <a:pt x="196" y="61"/>
                      <a:pt x="201" y="60"/>
                      <a:pt x="209" y="59"/>
                    </a:cubicBezTo>
                    <a:cubicBezTo>
                      <a:pt x="218" y="59"/>
                      <a:pt x="218" y="59"/>
                      <a:pt x="218" y="59"/>
                    </a:cubicBezTo>
                    <a:cubicBezTo>
                      <a:pt x="218" y="65"/>
                      <a:pt x="218" y="65"/>
                      <a:pt x="218" y="65"/>
                    </a:cubicBezTo>
                    <a:cubicBezTo>
                      <a:pt x="218" y="70"/>
                      <a:pt x="217" y="75"/>
                      <a:pt x="213" y="78"/>
                    </a:cubicBezTo>
                    <a:cubicBezTo>
                      <a:pt x="210" y="82"/>
                      <a:pt x="205" y="83"/>
                      <a:pt x="199" y="83"/>
                    </a:cubicBezTo>
                    <a:cubicBezTo>
                      <a:pt x="196" y="83"/>
                      <a:pt x="193" y="82"/>
                      <a:pt x="191" y="81"/>
                    </a:cubicBezTo>
                    <a:close/>
                    <a:moveTo>
                      <a:pt x="228" y="90"/>
                    </a:moveTo>
                    <a:cubicBezTo>
                      <a:pt x="228" y="47"/>
                      <a:pt x="228" y="47"/>
                      <a:pt x="228" y="47"/>
                    </a:cubicBezTo>
                    <a:cubicBezTo>
                      <a:pt x="228" y="39"/>
                      <a:pt x="226" y="34"/>
                      <a:pt x="223" y="31"/>
                    </a:cubicBezTo>
                    <a:cubicBezTo>
                      <a:pt x="219" y="27"/>
                      <a:pt x="213" y="26"/>
                      <a:pt x="206" y="26"/>
                    </a:cubicBezTo>
                    <a:cubicBezTo>
                      <a:pt x="202" y="26"/>
                      <a:pt x="198" y="26"/>
                      <a:pt x="195" y="27"/>
                    </a:cubicBezTo>
                    <a:cubicBezTo>
                      <a:pt x="191" y="28"/>
                      <a:pt x="188" y="29"/>
                      <a:pt x="184" y="31"/>
                    </a:cubicBezTo>
                    <a:cubicBezTo>
                      <a:pt x="187" y="38"/>
                      <a:pt x="187" y="38"/>
                      <a:pt x="187" y="38"/>
                    </a:cubicBezTo>
                    <a:cubicBezTo>
                      <a:pt x="194" y="35"/>
                      <a:pt x="200" y="34"/>
                      <a:pt x="205" y="34"/>
                    </a:cubicBezTo>
                    <a:cubicBezTo>
                      <a:pt x="210" y="34"/>
                      <a:pt x="213" y="35"/>
                      <a:pt x="215" y="37"/>
                    </a:cubicBezTo>
                    <a:cubicBezTo>
                      <a:pt x="218" y="40"/>
                      <a:pt x="219" y="43"/>
                      <a:pt x="219" y="48"/>
                    </a:cubicBezTo>
                    <a:cubicBezTo>
                      <a:pt x="219" y="52"/>
                      <a:pt x="219" y="52"/>
                      <a:pt x="219" y="52"/>
                    </a:cubicBezTo>
                    <a:cubicBezTo>
                      <a:pt x="208" y="52"/>
                      <a:pt x="208" y="52"/>
                      <a:pt x="208" y="52"/>
                    </a:cubicBezTo>
                    <a:cubicBezTo>
                      <a:pt x="188" y="53"/>
                      <a:pt x="177" y="60"/>
                      <a:pt x="177" y="72"/>
                    </a:cubicBezTo>
                    <a:cubicBezTo>
                      <a:pt x="177" y="78"/>
                      <a:pt x="179" y="83"/>
                      <a:pt x="183" y="86"/>
                    </a:cubicBezTo>
                    <a:cubicBezTo>
                      <a:pt x="186" y="89"/>
                      <a:pt x="191" y="91"/>
                      <a:pt x="197" y="91"/>
                    </a:cubicBezTo>
                    <a:cubicBezTo>
                      <a:pt x="202" y="91"/>
                      <a:pt x="206" y="90"/>
                      <a:pt x="209" y="89"/>
                    </a:cubicBezTo>
                    <a:cubicBezTo>
                      <a:pt x="212" y="88"/>
                      <a:pt x="215" y="85"/>
                      <a:pt x="219" y="81"/>
                    </a:cubicBezTo>
                    <a:cubicBezTo>
                      <a:pt x="219" y="81"/>
                      <a:pt x="219" y="81"/>
                      <a:pt x="219" y="81"/>
                    </a:cubicBezTo>
                    <a:cubicBezTo>
                      <a:pt x="221" y="90"/>
                      <a:pt x="221" y="90"/>
                      <a:pt x="221" y="90"/>
                    </a:cubicBezTo>
                    <a:lnTo>
                      <a:pt x="228" y="90"/>
                    </a:lnTo>
                    <a:close/>
                    <a:moveTo>
                      <a:pt x="161" y="90"/>
                    </a:moveTo>
                    <a:cubicBezTo>
                      <a:pt x="161" y="49"/>
                      <a:pt x="161" y="49"/>
                      <a:pt x="161" y="49"/>
                    </a:cubicBezTo>
                    <a:cubicBezTo>
                      <a:pt x="161" y="41"/>
                      <a:pt x="159" y="35"/>
                      <a:pt x="155" y="31"/>
                    </a:cubicBezTo>
                    <a:cubicBezTo>
                      <a:pt x="152" y="27"/>
                      <a:pt x="146" y="26"/>
                      <a:pt x="139" y="26"/>
                    </a:cubicBezTo>
                    <a:cubicBezTo>
                      <a:pt x="135" y="26"/>
                      <a:pt x="131" y="27"/>
                      <a:pt x="127" y="29"/>
                    </a:cubicBezTo>
                    <a:cubicBezTo>
                      <a:pt x="123" y="30"/>
                      <a:pt x="121" y="33"/>
                      <a:pt x="119" y="36"/>
                    </a:cubicBezTo>
                    <a:cubicBezTo>
                      <a:pt x="118" y="36"/>
                      <a:pt x="118" y="36"/>
                      <a:pt x="118" y="36"/>
                    </a:cubicBezTo>
                    <a:cubicBezTo>
                      <a:pt x="115" y="29"/>
                      <a:pt x="109" y="26"/>
                      <a:pt x="99" y="26"/>
                    </a:cubicBezTo>
                    <a:cubicBezTo>
                      <a:pt x="95" y="26"/>
                      <a:pt x="91" y="27"/>
                      <a:pt x="88" y="28"/>
                    </a:cubicBezTo>
                    <a:cubicBezTo>
                      <a:pt x="85" y="30"/>
                      <a:pt x="82" y="32"/>
                      <a:pt x="80" y="35"/>
                    </a:cubicBezTo>
                    <a:cubicBezTo>
                      <a:pt x="80" y="35"/>
                      <a:pt x="80" y="35"/>
                      <a:pt x="80" y="35"/>
                    </a:cubicBezTo>
                    <a:cubicBezTo>
                      <a:pt x="78" y="27"/>
                      <a:pt x="78" y="27"/>
                      <a:pt x="78" y="27"/>
                    </a:cubicBezTo>
                    <a:cubicBezTo>
                      <a:pt x="71" y="27"/>
                      <a:pt x="71" y="27"/>
                      <a:pt x="71" y="27"/>
                    </a:cubicBezTo>
                    <a:cubicBezTo>
                      <a:pt x="71" y="90"/>
                      <a:pt x="71" y="90"/>
                      <a:pt x="71" y="90"/>
                    </a:cubicBezTo>
                    <a:cubicBezTo>
                      <a:pt x="80" y="90"/>
                      <a:pt x="80" y="90"/>
                      <a:pt x="80" y="90"/>
                    </a:cubicBezTo>
                    <a:cubicBezTo>
                      <a:pt x="80" y="57"/>
                      <a:pt x="80" y="57"/>
                      <a:pt x="80" y="57"/>
                    </a:cubicBezTo>
                    <a:cubicBezTo>
                      <a:pt x="80" y="49"/>
                      <a:pt x="82" y="43"/>
                      <a:pt x="84" y="39"/>
                    </a:cubicBezTo>
                    <a:cubicBezTo>
                      <a:pt x="87" y="36"/>
                      <a:pt x="91" y="34"/>
                      <a:pt x="97" y="34"/>
                    </a:cubicBezTo>
                    <a:cubicBezTo>
                      <a:pt x="102" y="34"/>
                      <a:pt x="105" y="35"/>
                      <a:pt x="108" y="38"/>
                    </a:cubicBezTo>
                    <a:cubicBezTo>
                      <a:pt x="110" y="40"/>
                      <a:pt x="111" y="44"/>
                      <a:pt x="111" y="49"/>
                    </a:cubicBezTo>
                    <a:cubicBezTo>
                      <a:pt x="111" y="90"/>
                      <a:pt x="111" y="90"/>
                      <a:pt x="111" y="90"/>
                    </a:cubicBezTo>
                    <a:cubicBezTo>
                      <a:pt x="120" y="90"/>
                      <a:pt x="120" y="90"/>
                      <a:pt x="120" y="90"/>
                    </a:cubicBezTo>
                    <a:cubicBezTo>
                      <a:pt x="120" y="55"/>
                      <a:pt x="120" y="55"/>
                      <a:pt x="120" y="55"/>
                    </a:cubicBezTo>
                    <a:cubicBezTo>
                      <a:pt x="120" y="48"/>
                      <a:pt x="122" y="42"/>
                      <a:pt x="125" y="39"/>
                    </a:cubicBezTo>
                    <a:cubicBezTo>
                      <a:pt x="127" y="35"/>
                      <a:pt x="132" y="34"/>
                      <a:pt x="138" y="34"/>
                    </a:cubicBezTo>
                    <a:cubicBezTo>
                      <a:pt x="142" y="34"/>
                      <a:pt x="146" y="35"/>
                      <a:pt x="148" y="38"/>
                    </a:cubicBezTo>
                    <a:cubicBezTo>
                      <a:pt x="150" y="40"/>
                      <a:pt x="151" y="44"/>
                      <a:pt x="151" y="49"/>
                    </a:cubicBezTo>
                    <a:cubicBezTo>
                      <a:pt x="151" y="90"/>
                      <a:pt x="151" y="90"/>
                      <a:pt x="151" y="90"/>
                    </a:cubicBezTo>
                    <a:lnTo>
                      <a:pt x="161" y="90"/>
                    </a:lnTo>
                    <a:close/>
                    <a:moveTo>
                      <a:pt x="48" y="53"/>
                    </a:moveTo>
                    <a:cubicBezTo>
                      <a:pt x="45" y="50"/>
                      <a:pt x="39" y="46"/>
                      <a:pt x="30" y="43"/>
                    </a:cubicBezTo>
                    <a:cubicBezTo>
                      <a:pt x="25" y="41"/>
                      <a:pt x="21" y="40"/>
                      <a:pt x="18" y="38"/>
                    </a:cubicBezTo>
                    <a:cubicBezTo>
                      <a:pt x="16" y="37"/>
                      <a:pt x="14" y="35"/>
                      <a:pt x="13" y="33"/>
                    </a:cubicBezTo>
                    <a:cubicBezTo>
                      <a:pt x="12" y="31"/>
                      <a:pt x="11" y="29"/>
                      <a:pt x="11" y="26"/>
                    </a:cubicBezTo>
                    <a:cubicBezTo>
                      <a:pt x="11" y="22"/>
                      <a:pt x="12" y="19"/>
                      <a:pt x="15" y="17"/>
                    </a:cubicBezTo>
                    <a:cubicBezTo>
                      <a:pt x="18" y="14"/>
                      <a:pt x="22" y="13"/>
                      <a:pt x="28" y="13"/>
                    </a:cubicBezTo>
                    <a:cubicBezTo>
                      <a:pt x="34" y="13"/>
                      <a:pt x="41" y="15"/>
                      <a:pt x="48" y="18"/>
                    </a:cubicBezTo>
                    <a:cubicBezTo>
                      <a:pt x="51" y="9"/>
                      <a:pt x="51" y="9"/>
                      <a:pt x="51" y="9"/>
                    </a:cubicBezTo>
                    <a:cubicBezTo>
                      <a:pt x="44" y="6"/>
                      <a:pt x="36" y="5"/>
                      <a:pt x="28" y="5"/>
                    </a:cubicBezTo>
                    <a:cubicBezTo>
                      <a:pt x="20" y="5"/>
                      <a:pt x="13" y="6"/>
                      <a:pt x="8" y="10"/>
                    </a:cubicBezTo>
                    <a:cubicBezTo>
                      <a:pt x="4" y="14"/>
                      <a:pt x="1" y="19"/>
                      <a:pt x="1" y="26"/>
                    </a:cubicBezTo>
                    <a:cubicBezTo>
                      <a:pt x="1" y="32"/>
                      <a:pt x="3" y="37"/>
                      <a:pt x="6" y="41"/>
                    </a:cubicBezTo>
                    <a:cubicBezTo>
                      <a:pt x="9" y="45"/>
                      <a:pt x="15" y="48"/>
                      <a:pt x="23" y="51"/>
                    </a:cubicBezTo>
                    <a:cubicBezTo>
                      <a:pt x="29" y="53"/>
                      <a:pt x="33" y="55"/>
                      <a:pt x="35" y="56"/>
                    </a:cubicBezTo>
                    <a:cubicBezTo>
                      <a:pt x="38" y="58"/>
                      <a:pt x="40" y="59"/>
                      <a:pt x="41" y="61"/>
                    </a:cubicBezTo>
                    <a:cubicBezTo>
                      <a:pt x="43" y="63"/>
                      <a:pt x="43" y="66"/>
                      <a:pt x="43" y="68"/>
                    </a:cubicBezTo>
                    <a:cubicBezTo>
                      <a:pt x="43" y="73"/>
                      <a:pt x="41" y="76"/>
                      <a:pt x="38" y="79"/>
                    </a:cubicBezTo>
                    <a:cubicBezTo>
                      <a:pt x="35" y="81"/>
                      <a:pt x="30" y="83"/>
                      <a:pt x="23" y="83"/>
                    </a:cubicBezTo>
                    <a:cubicBezTo>
                      <a:pt x="19" y="83"/>
                      <a:pt x="15" y="82"/>
                      <a:pt x="11" y="81"/>
                    </a:cubicBezTo>
                    <a:cubicBezTo>
                      <a:pt x="7" y="80"/>
                      <a:pt x="3" y="79"/>
                      <a:pt x="0" y="78"/>
                    </a:cubicBezTo>
                    <a:cubicBezTo>
                      <a:pt x="0" y="87"/>
                      <a:pt x="0" y="87"/>
                      <a:pt x="0" y="87"/>
                    </a:cubicBezTo>
                    <a:cubicBezTo>
                      <a:pt x="5" y="90"/>
                      <a:pt x="13" y="91"/>
                      <a:pt x="23" y="91"/>
                    </a:cubicBezTo>
                    <a:cubicBezTo>
                      <a:pt x="32" y="91"/>
                      <a:pt x="40" y="89"/>
                      <a:pt x="45" y="85"/>
                    </a:cubicBezTo>
                    <a:cubicBezTo>
                      <a:pt x="50" y="81"/>
                      <a:pt x="53" y="75"/>
                      <a:pt x="53" y="68"/>
                    </a:cubicBezTo>
                    <a:cubicBezTo>
                      <a:pt x="53" y="62"/>
                      <a:pt x="51" y="57"/>
                      <a:pt x="48" y="5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16478120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27" r:id="rId1"/>
    <p:sldLayoutId id="2147484028" r:id="rId2"/>
    <p:sldLayoutId id="2147484029" r:id="rId3"/>
    <p:sldLayoutId id="2147484030" r:id="rId4"/>
    <p:sldLayoutId id="2147484031" r:id="rId5"/>
    <p:sldLayoutId id="2147484032" r:id="rId6"/>
  </p:sldLayoutIdLst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spd="slow">
        <p:split orient="vert"/>
      </p:transition>
    </mc:Fallback>
  </mc:AlternateConten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70000" indent="-270000" algn="l" defTabSz="914400" rtl="0" eaLnBrk="1" latinLnBrk="0" hangingPunct="1">
        <a:lnSpc>
          <a:spcPct val="110000"/>
        </a:lnSpc>
        <a:spcBef>
          <a:spcPts val="0"/>
        </a:spcBef>
        <a:spcAft>
          <a:spcPts val="1000"/>
        </a:spcAft>
        <a:buClr>
          <a:schemeClr val="accent5"/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720000" indent="-270000" algn="l" defTabSz="914400" rtl="0" eaLnBrk="1" latinLnBrk="0" hangingPunct="1">
        <a:lnSpc>
          <a:spcPct val="110000"/>
        </a:lnSpc>
        <a:spcBef>
          <a:spcPts val="0"/>
        </a:spcBef>
        <a:spcAft>
          <a:spcPts val="1000"/>
        </a:spcAft>
        <a:buClr>
          <a:schemeClr val="accent5"/>
        </a:buClr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080000" indent="-270000" algn="l" defTabSz="914400" rtl="0" eaLnBrk="1" latinLnBrk="0" hangingPunct="1">
        <a:lnSpc>
          <a:spcPct val="110000"/>
        </a:lnSpc>
        <a:spcBef>
          <a:spcPts val="0"/>
        </a:spcBef>
        <a:spcAft>
          <a:spcPts val="1000"/>
        </a:spcAft>
        <a:buClr>
          <a:schemeClr val="accent5"/>
        </a:buClr>
        <a:buFont typeface="Arial" panose="020B060402020202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440000" indent="-270000" algn="l" defTabSz="914400" rtl="0" eaLnBrk="1" latinLnBrk="0" hangingPunct="1">
        <a:lnSpc>
          <a:spcPct val="110000"/>
        </a:lnSpc>
        <a:spcBef>
          <a:spcPts val="0"/>
        </a:spcBef>
        <a:spcAft>
          <a:spcPts val="1000"/>
        </a:spcAft>
        <a:buClr>
          <a:schemeClr val="accent5"/>
        </a:buClr>
        <a:buFont typeface="Arial" panose="020B0604020202020204" pitchFamily="34" charset="0"/>
        <a:buChar char="–"/>
        <a:tabLst>
          <a:tab pos="898525" algn="l"/>
        </a:tabLst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1800000" indent="-270000" algn="l" defTabSz="914400" rtl="0" eaLnBrk="1" latinLnBrk="0" hangingPunct="1">
        <a:lnSpc>
          <a:spcPct val="110000"/>
        </a:lnSpc>
        <a:spcBef>
          <a:spcPts val="0"/>
        </a:spcBef>
        <a:spcAft>
          <a:spcPts val="1000"/>
        </a:spcAft>
        <a:buClr>
          <a:schemeClr val="accent5"/>
        </a:buClr>
        <a:buFont typeface="Arial" panose="020B0604020202020204" pitchFamily="34" charset="0"/>
        <a:buChar char="–"/>
        <a:defRPr sz="1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orient="horz" pos="3954">
          <p15:clr>
            <a:srgbClr val="F26B43"/>
          </p15:clr>
        </p15:guide>
        <p15:guide id="3" pos="3839">
          <p15:clr>
            <a:srgbClr val="F26B43"/>
          </p15:clr>
        </p15:guide>
        <p15:guide id="4" pos="339">
          <p15:clr>
            <a:srgbClr val="F26B43"/>
          </p15:clr>
        </p15:guide>
        <p15:guide id="5" pos="7340">
          <p15:clr>
            <a:srgbClr val="F26B43"/>
          </p15:clr>
        </p15:guide>
        <p15:guide id="6" orient="horz" pos="2160">
          <p15:clr>
            <a:srgbClr val="F26B43"/>
          </p15:clr>
        </p15:guide>
        <p15:guide id="7" orient="horz" pos="328">
          <p15:clr>
            <a:srgbClr val="F26B43"/>
          </p15:clr>
        </p15:guide>
        <p15:guide id="8" orient="horz" pos="3662">
          <p15:clr>
            <a:srgbClr val="F26B43"/>
          </p15:clr>
        </p15:guide>
        <p15:guide id="9" orient="horz" pos="954">
          <p15:clr>
            <a:srgbClr val="F26B43"/>
          </p15:clr>
        </p15:guide>
        <p15:guide id="10" orient="horz" pos="2309">
          <p15:clr>
            <a:srgbClr val="9FCC3B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A94B123-D78D-4501-A4F8-90610C0EB077}"/>
              </a:ext>
            </a:extLst>
          </p:cNvPr>
          <p:cNvSpPr>
            <a:spLocks noGrp="1"/>
          </p:cNvSpPr>
          <p:nvPr>
            <p:ph type="ctrTitle"/>
          </p:nvPr>
        </p:nvSpPr>
        <p:spPr bwMode="gray">
          <a:xfrm>
            <a:off x="749080" y="1599143"/>
            <a:ext cx="3899120" cy="2215991"/>
          </a:xfrm>
        </p:spPr>
        <p:txBody>
          <a:bodyPr anchor="t" anchorCtr="0"/>
          <a:lstStyle/>
          <a:p>
            <a:r>
              <a:rPr lang="de-DE" sz="4000" dirty="0">
                <a:solidFill>
                  <a:schemeClr val="tx1">
                    <a:lumMod val="90000"/>
                    <a:lumOff val="10000"/>
                  </a:schemeClr>
                </a:solidFill>
              </a:rPr>
              <a:t>Workshop m.Doc:</a:t>
            </a:r>
            <a:br>
              <a:rPr lang="de-DE" sz="4000" dirty="0">
                <a:solidFill>
                  <a:schemeClr val="tx1">
                    <a:lumMod val="90000"/>
                    <a:lumOff val="10000"/>
                  </a:schemeClr>
                </a:solidFill>
              </a:rPr>
            </a:br>
            <a:br>
              <a:rPr lang="de-DE" sz="4000" dirty="0">
                <a:solidFill>
                  <a:schemeClr val="tx1">
                    <a:lumMod val="90000"/>
                    <a:lumOff val="10000"/>
                  </a:schemeClr>
                </a:solidFill>
              </a:rPr>
            </a:br>
            <a:r>
              <a:rPr lang="de-DE" sz="4000" dirty="0">
                <a:solidFill>
                  <a:schemeClr val="tx1">
                    <a:lumMod val="90000"/>
                    <a:lumOff val="10000"/>
                  </a:schemeClr>
                </a:solidFill>
              </a:rPr>
              <a:t>Patientenportal-einführung 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1918DD62-94BD-4705-91DD-04DA2679E307}"/>
              </a:ext>
            </a:extLst>
          </p:cNvPr>
          <p:cNvSpPr>
            <a:spLocks noGrp="1"/>
          </p:cNvSpPr>
          <p:nvPr>
            <p:ph type="subTitle" idx="1"/>
          </p:nvPr>
        </p:nvSpPr>
        <p:spPr bwMode="gray">
          <a:xfrm>
            <a:off x="749081" y="2262371"/>
            <a:ext cx="4377508" cy="465137"/>
          </a:xfrm>
        </p:spPr>
        <p:txBody>
          <a:bodyPr/>
          <a:lstStyle/>
          <a:p>
            <a:endParaRPr lang="de-DE"/>
          </a:p>
          <a:p>
            <a:endParaRPr lang="de-DE"/>
          </a:p>
          <a:p>
            <a:endParaRPr lang="de-DE"/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52EDCC69-9B1D-6563-B47E-1592021D0B0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361526" y="869966"/>
            <a:ext cx="6120208" cy="61202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705398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spd="slow">
        <p:split orient="vert"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Pfeil: nach rechts 22">
            <a:extLst>
              <a:ext uri="{FF2B5EF4-FFF2-40B4-BE49-F238E27FC236}">
                <a16:creationId xmlns:a16="http://schemas.microsoft.com/office/drawing/2014/main" id="{BCACFD11-306F-CE2C-F8A0-E34EC2210176}"/>
              </a:ext>
            </a:extLst>
          </p:cNvPr>
          <p:cNvSpPr/>
          <p:nvPr/>
        </p:nvSpPr>
        <p:spPr>
          <a:xfrm>
            <a:off x="5689138" y="3100078"/>
            <a:ext cx="903514" cy="707571"/>
          </a:xfrm>
          <a:prstGeom prst="rightArrow">
            <a:avLst/>
          </a:prstGeom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endParaRPr lang="en-GB" err="1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954E0502-5D05-EEC5-A02B-9CB8E7C9892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02CEFE82-39F2-4F47-8A0C-D5AB3496FA5C}" type="slidenum">
              <a:rPr lang="de-DE" smtClean="0"/>
              <a:pPr/>
              <a:t>2</a:t>
            </a:fld>
            <a:endParaRPr lang="de-DE"/>
          </a:p>
        </p:txBody>
      </p:sp>
      <p:sp>
        <p:nvSpPr>
          <p:cNvPr id="13" name="Inhaltsplatzhalter 6">
            <a:extLst>
              <a:ext uri="{FF2B5EF4-FFF2-40B4-BE49-F238E27FC236}">
                <a16:creationId xmlns:a16="http://schemas.microsoft.com/office/drawing/2014/main" id="{A0FEE860-4A26-2590-6E4F-4DFE0C53C208}"/>
              </a:ext>
            </a:extLst>
          </p:cNvPr>
          <p:cNvSpPr txBox="1">
            <a:spLocks/>
          </p:cNvSpPr>
          <p:nvPr/>
        </p:nvSpPr>
        <p:spPr bwMode="gray">
          <a:xfrm>
            <a:off x="6592652" y="2619934"/>
            <a:ext cx="3931629" cy="988125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270000" indent="-27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000"/>
              </a:spcAft>
              <a:buClr>
                <a:schemeClr val="accent5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20000" indent="-27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000"/>
              </a:spcAft>
              <a:buClr>
                <a:schemeClr val="accent5"/>
              </a:buClr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0000" indent="-27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000"/>
              </a:spcAft>
              <a:buClr>
                <a:schemeClr val="accent5"/>
              </a:buClr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40000" indent="-27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000"/>
              </a:spcAft>
              <a:buClr>
                <a:schemeClr val="accent5"/>
              </a:buClr>
              <a:buFont typeface="Arial" panose="020B0604020202020204" pitchFamily="34" charset="0"/>
              <a:buChar char="–"/>
              <a:tabLst>
                <a:tab pos="898525" algn="l"/>
              </a:tabLst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00000" indent="-27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000"/>
              </a:spcAft>
              <a:buClr>
                <a:schemeClr val="accent5"/>
              </a:buClr>
              <a:buFont typeface="Arial" panose="020B0604020202020204" pitchFamily="34" charset="0"/>
              <a:buChar char="–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Wingdings" panose="05000000000000000000" pitchFamily="2" charset="2"/>
              <a:buNone/>
            </a:pPr>
            <a:r>
              <a:rPr lang="en-GB" sz="5400" b="1" dirty="0">
                <a:cs typeface="Calibri"/>
              </a:rPr>
              <a:t>Content &amp; </a:t>
            </a:r>
            <a:r>
              <a:rPr lang="en-GB" sz="5400" b="1" dirty="0" err="1">
                <a:cs typeface="Calibri"/>
              </a:rPr>
              <a:t>Prozesse</a:t>
            </a:r>
            <a:endParaRPr lang="en-GB" sz="5400" b="1" dirty="0">
              <a:cs typeface="Calibri"/>
            </a:endParaRPr>
          </a:p>
        </p:txBody>
      </p:sp>
      <p:grpSp>
        <p:nvGrpSpPr>
          <p:cNvPr id="14" name="Gruppieren 13">
            <a:extLst>
              <a:ext uri="{FF2B5EF4-FFF2-40B4-BE49-F238E27FC236}">
                <a16:creationId xmlns:a16="http://schemas.microsoft.com/office/drawing/2014/main" id="{69F40EE9-352D-233A-AC5A-C4D9E51F3834}"/>
              </a:ext>
            </a:extLst>
          </p:cNvPr>
          <p:cNvGrpSpPr/>
          <p:nvPr/>
        </p:nvGrpSpPr>
        <p:grpSpPr>
          <a:xfrm>
            <a:off x="-174342" y="996165"/>
            <a:ext cx="6707379" cy="5807507"/>
            <a:chOff x="-174342" y="996165"/>
            <a:chExt cx="6707379" cy="5807507"/>
          </a:xfrm>
        </p:grpSpPr>
        <p:pic>
          <p:nvPicPr>
            <p:cNvPr id="15" name="Grafik 14">
              <a:extLst>
                <a:ext uri="{FF2B5EF4-FFF2-40B4-BE49-F238E27FC236}">
                  <a16:creationId xmlns:a16="http://schemas.microsoft.com/office/drawing/2014/main" id="{2C511066-2B82-FB15-8CCF-F7B45E9C832B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-174342" y="996165"/>
              <a:ext cx="6707379" cy="5807507"/>
            </a:xfrm>
            <a:prstGeom prst="rect">
              <a:avLst/>
            </a:prstGeom>
          </p:spPr>
        </p:pic>
        <p:sp>
          <p:nvSpPr>
            <p:cNvPr id="16" name="Rechteck 15">
              <a:extLst>
                <a:ext uri="{FF2B5EF4-FFF2-40B4-BE49-F238E27FC236}">
                  <a16:creationId xmlns:a16="http://schemas.microsoft.com/office/drawing/2014/main" id="{BA42CA1F-9960-8710-7084-E6A4959D3818}"/>
                </a:ext>
              </a:extLst>
            </p:cNvPr>
            <p:cNvSpPr/>
            <p:nvPr/>
          </p:nvSpPr>
          <p:spPr>
            <a:xfrm rot="20788780">
              <a:off x="953781" y="2848824"/>
              <a:ext cx="2205997" cy="2091526"/>
            </a:xfrm>
            <a:prstGeom prst="rect">
              <a:avLst/>
            </a:prstGeom>
            <a:solidFill>
              <a:srgbClr val="E9E9E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>
                <a:lnSpc>
                  <a:spcPct val="90000"/>
                </a:lnSpc>
                <a:spcAft>
                  <a:spcPts val="1000"/>
                </a:spcAft>
              </a:pPr>
              <a:endParaRPr lang="en-GB" err="1"/>
            </a:p>
          </p:txBody>
        </p:sp>
      </p:grpSp>
      <p:sp>
        <p:nvSpPr>
          <p:cNvPr id="17" name="Inhaltsplatzhalter 6">
            <a:extLst>
              <a:ext uri="{FF2B5EF4-FFF2-40B4-BE49-F238E27FC236}">
                <a16:creationId xmlns:a16="http://schemas.microsoft.com/office/drawing/2014/main" id="{CE12A2EA-191A-F014-2F36-573D3CC73722}"/>
              </a:ext>
            </a:extLst>
          </p:cNvPr>
          <p:cNvSpPr txBox="1">
            <a:spLocks/>
          </p:cNvSpPr>
          <p:nvPr/>
        </p:nvSpPr>
        <p:spPr bwMode="gray">
          <a:xfrm rot="20796245">
            <a:off x="58270" y="3310916"/>
            <a:ext cx="4130676" cy="988125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270000" indent="-27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000"/>
              </a:spcAft>
              <a:buClr>
                <a:schemeClr val="accent5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20000" indent="-27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000"/>
              </a:spcAft>
              <a:buClr>
                <a:schemeClr val="accent5"/>
              </a:buClr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0000" indent="-27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000"/>
              </a:spcAft>
              <a:buClr>
                <a:schemeClr val="accent5"/>
              </a:buClr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40000" indent="-27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000"/>
              </a:spcAft>
              <a:buClr>
                <a:schemeClr val="accent5"/>
              </a:buClr>
              <a:buFont typeface="Arial" panose="020B0604020202020204" pitchFamily="34" charset="0"/>
              <a:buChar char="–"/>
              <a:tabLst>
                <a:tab pos="898525" algn="l"/>
              </a:tabLst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00000" indent="-27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000"/>
              </a:spcAft>
              <a:buClr>
                <a:schemeClr val="accent5"/>
              </a:buClr>
              <a:buFont typeface="Arial" panose="020B0604020202020204" pitchFamily="34" charset="0"/>
              <a:buChar char="–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Wingdings" panose="05000000000000000000" pitchFamily="2" charset="2"/>
              <a:buNone/>
            </a:pPr>
            <a:r>
              <a:rPr lang="en-GB" sz="5400" b="1">
                <a:solidFill>
                  <a:schemeClr val="accent1"/>
                </a:solidFill>
                <a:cs typeface="Calibri"/>
              </a:rPr>
              <a:t>Was?</a:t>
            </a:r>
          </a:p>
        </p:txBody>
      </p:sp>
      <p:sp>
        <p:nvSpPr>
          <p:cNvPr id="22" name="Titel 5">
            <a:extLst>
              <a:ext uri="{FF2B5EF4-FFF2-40B4-BE49-F238E27FC236}">
                <a16:creationId xmlns:a16="http://schemas.microsoft.com/office/drawing/2014/main" id="{2B1D0EFB-1BE6-22AE-5DE5-BF8B643AB0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0000" y="523874"/>
            <a:ext cx="11109600" cy="988125"/>
          </a:xfrm>
        </p:spPr>
        <p:txBody>
          <a:bodyPr/>
          <a:lstStyle/>
          <a:p>
            <a:pPr marL="540000">
              <a:spcBef>
                <a:spcPts val="0"/>
              </a:spcBef>
            </a:pPr>
            <a:r>
              <a:rPr lang="de-DE"/>
              <a:t>Strategie &amp; Zielbild</a:t>
            </a:r>
            <a:endParaRPr lang="en-GB"/>
          </a:p>
        </p:txBody>
      </p:sp>
      <p:sp>
        <p:nvSpPr>
          <p:cNvPr id="24" name="Ellipse 23">
            <a:extLst>
              <a:ext uri="{FF2B5EF4-FFF2-40B4-BE49-F238E27FC236}">
                <a16:creationId xmlns:a16="http://schemas.microsoft.com/office/drawing/2014/main" id="{146B3AF7-0350-3393-A3F2-0FFE1A901796}"/>
              </a:ext>
            </a:extLst>
          </p:cNvPr>
          <p:cNvSpPr/>
          <p:nvPr/>
        </p:nvSpPr>
        <p:spPr>
          <a:xfrm>
            <a:off x="541628" y="461501"/>
            <a:ext cx="468000" cy="468000"/>
          </a:xfrm>
          <a:prstGeom prst="ellipse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r>
              <a:rPr lang="de-DE" sz="2800">
                <a:solidFill>
                  <a:schemeClr val="accent1"/>
                </a:solidFill>
              </a:rPr>
              <a:t>I</a:t>
            </a:r>
            <a:endParaRPr lang="en-GB" sz="2800" err="1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732972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feil: nach rechts 10">
            <a:extLst>
              <a:ext uri="{FF2B5EF4-FFF2-40B4-BE49-F238E27FC236}">
                <a16:creationId xmlns:a16="http://schemas.microsoft.com/office/drawing/2014/main" id="{C4A2783A-21FA-C5F2-1356-1757DD26166C}"/>
              </a:ext>
            </a:extLst>
          </p:cNvPr>
          <p:cNvSpPr/>
          <p:nvPr/>
        </p:nvSpPr>
        <p:spPr>
          <a:xfrm>
            <a:off x="5689138" y="3100078"/>
            <a:ext cx="903514" cy="707571"/>
          </a:xfrm>
          <a:prstGeom prst="rightArrow">
            <a:avLst/>
          </a:prstGeom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endParaRPr lang="en-GB" err="1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2D4534AA-2857-8CD6-C0E0-F10677A37CA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marL="540000">
              <a:spcBef>
                <a:spcPts val="0"/>
              </a:spcBef>
            </a:pPr>
            <a:r>
              <a:rPr lang="de-DE"/>
              <a:t>Strategie &amp; Zielbild</a:t>
            </a:r>
            <a:endParaRPr lang="en-GB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954E0502-5D05-EEC5-A02B-9CB8E7C9892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02CEFE82-39F2-4F47-8A0C-D5AB3496FA5C}" type="slidenum">
              <a:rPr lang="de-DE" smtClean="0"/>
              <a:pPr/>
              <a:t>3</a:t>
            </a:fld>
            <a:endParaRPr lang="de-DE"/>
          </a:p>
        </p:txBody>
      </p:sp>
      <p:sp>
        <p:nvSpPr>
          <p:cNvPr id="13" name="Inhaltsplatzhalter 6">
            <a:extLst>
              <a:ext uri="{FF2B5EF4-FFF2-40B4-BE49-F238E27FC236}">
                <a16:creationId xmlns:a16="http://schemas.microsoft.com/office/drawing/2014/main" id="{A0FEE860-4A26-2590-6E4F-4DFE0C53C208}"/>
              </a:ext>
            </a:extLst>
          </p:cNvPr>
          <p:cNvSpPr txBox="1">
            <a:spLocks/>
          </p:cNvSpPr>
          <p:nvPr/>
        </p:nvSpPr>
        <p:spPr bwMode="gray">
          <a:xfrm>
            <a:off x="6737888" y="2691307"/>
            <a:ext cx="4911712" cy="81754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270000" indent="-27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000"/>
              </a:spcAft>
              <a:buClr>
                <a:schemeClr val="accent5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20000" indent="-27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000"/>
              </a:spcAft>
              <a:buClr>
                <a:schemeClr val="accent5"/>
              </a:buClr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0000" indent="-27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000"/>
              </a:spcAft>
              <a:buClr>
                <a:schemeClr val="accent5"/>
              </a:buClr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40000" indent="-27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000"/>
              </a:spcAft>
              <a:buClr>
                <a:schemeClr val="accent5"/>
              </a:buClr>
              <a:buFont typeface="Arial" panose="020B0604020202020204" pitchFamily="34" charset="0"/>
              <a:buChar char="–"/>
              <a:tabLst>
                <a:tab pos="898525" algn="l"/>
              </a:tabLst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00000" indent="-27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000"/>
              </a:spcAft>
              <a:buClr>
                <a:schemeClr val="accent5"/>
              </a:buClr>
              <a:buFont typeface="Arial" panose="020B0604020202020204" pitchFamily="34" charset="0"/>
              <a:buChar char="–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Wingdings" panose="05000000000000000000" pitchFamily="2" charset="2"/>
              <a:buNone/>
            </a:pPr>
            <a:r>
              <a:rPr lang="en-GB" sz="5400" b="1" dirty="0" err="1">
                <a:cs typeface="Calibri"/>
              </a:rPr>
              <a:t>Informationen</a:t>
            </a:r>
            <a:r>
              <a:rPr lang="en-GB" sz="5400" b="1" dirty="0">
                <a:cs typeface="Calibri"/>
              </a:rPr>
              <a:t> &amp; </a:t>
            </a:r>
            <a:r>
              <a:rPr lang="en-GB" sz="5400" b="1" dirty="0" err="1">
                <a:cs typeface="Calibri"/>
              </a:rPr>
              <a:t>Schulungen</a:t>
            </a:r>
            <a:endParaRPr lang="en-GB" sz="5400" b="1" dirty="0">
              <a:cs typeface="Calibri"/>
            </a:endParaRPr>
          </a:p>
        </p:txBody>
      </p:sp>
      <p:grpSp>
        <p:nvGrpSpPr>
          <p:cNvPr id="3" name="Gruppieren 2">
            <a:extLst>
              <a:ext uri="{FF2B5EF4-FFF2-40B4-BE49-F238E27FC236}">
                <a16:creationId xmlns:a16="http://schemas.microsoft.com/office/drawing/2014/main" id="{8DF599B7-6B71-6DCF-78C0-98FBFB4A9C3B}"/>
              </a:ext>
            </a:extLst>
          </p:cNvPr>
          <p:cNvGrpSpPr/>
          <p:nvPr/>
        </p:nvGrpSpPr>
        <p:grpSpPr>
          <a:xfrm>
            <a:off x="-174342" y="996165"/>
            <a:ext cx="6707379" cy="5807507"/>
            <a:chOff x="-174342" y="996165"/>
            <a:chExt cx="6707379" cy="5807507"/>
          </a:xfrm>
        </p:grpSpPr>
        <p:pic>
          <p:nvPicPr>
            <p:cNvPr id="7" name="Grafik 6">
              <a:extLst>
                <a:ext uri="{FF2B5EF4-FFF2-40B4-BE49-F238E27FC236}">
                  <a16:creationId xmlns:a16="http://schemas.microsoft.com/office/drawing/2014/main" id="{78C3A6C4-C6AA-9635-6039-E99AB2C2ACD8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-174342" y="996165"/>
              <a:ext cx="6707379" cy="5807507"/>
            </a:xfrm>
            <a:prstGeom prst="rect">
              <a:avLst/>
            </a:prstGeom>
          </p:spPr>
        </p:pic>
        <p:sp>
          <p:nvSpPr>
            <p:cNvPr id="10" name="Rechteck 9">
              <a:extLst>
                <a:ext uri="{FF2B5EF4-FFF2-40B4-BE49-F238E27FC236}">
                  <a16:creationId xmlns:a16="http://schemas.microsoft.com/office/drawing/2014/main" id="{A0C1100D-8624-7465-9F4D-BD8BFEF85B72}"/>
                </a:ext>
              </a:extLst>
            </p:cNvPr>
            <p:cNvSpPr/>
            <p:nvPr/>
          </p:nvSpPr>
          <p:spPr>
            <a:xfrm rot="20788780">
              <a:off x="953781" y="2848824"/>
              <a:ext cx="2205997" cy="2091526"/>
            </a:xfrm>
            <a:prstGeom prst="rect">
              <a:avLst/>
            </a:prstGeom>
            <a:solidFill>
              <a:srgbClr val="E9E9E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>
                <a:lnSpc>
                  <a:spcPct val="90000"/>
                </a:lnSpc>
                <a:spcAft>
                  <a:spcPts val="1000"/>
                </a:spcAft>
              </a:pPr>
              <a:endParaRPr lang="en-GB" err="1"/>
            </a:p>
          </p:txBody>
        </p:sp>
      </p:grpSp>
      <p:sp>
        <p:nvSpPr>
          <p:cNvPr id="12" name="Inhaltsplatzhalter 6">
            <a:extLst>
              <a:ext uri="{FF2B5EF4-FFF2-40B4-BE49-F238E27FC236}">
                <a16:creationId xmlns:a16="http://schemas.microsoft.com/office/drawing/2014/main" id="{17712AB2-025F-3081-797E-026620F5F651}"/>
              </a:ext>
            </a:extLst>
          </p:cNvPr>
          <p:cNvSpPr>
            <a:spLocks noGrp="1"/>
          </p:cNvSpPr>
          <p:nvPr>
            <p:ph idx="1"/>
          </p:nvPr>
        </p:nvSpPr>
        <p:spPr>
          <a:xfrm rot="20796245">
            <a:off x="58270" y="3310916"/>
            <a:ext cx="4130676" cy="988125"/>
          </a:xfrm>
        </p:spPr>
        <p:txBody>
          <a:bodyPr vert="horz" lIns="0" tIns="0" rIns="0" bIns="0" rtlCol="0" anchor="t">
            <a:noAutofit/>
          </a:bodyPr>
          <a:lstStyle/>
          <a:p>
            <a:pPr marL="0" indent="0" algn="ctr">
              <a:buNone/>
            </a:pPr>
            <a:r>
              <a:rPr lang="en-GB" sz="5400" b="1" err="1">
                <a:solidFill>
                  <a:schemeClr val="accent1"/>
                </a:solidFill>
                <a:cs typeface="Calibri"/>
              </a:rPr>
              <a:t>Womit</a:t>
            </a:r>
            <a:r>
              <a:rPr lang="en-GB" sz="5400" b="1">
                <a:solidFill>
                  <a:schemeClr val="accent1"/>
                </a:solidFill>
                <a:cs typeface="Calibri"/>
              </a:rPr>
              <a:t>?</a:t>
            </a:r>
          </a:p>
        </p:txBody>
      </p:sp>
      <p:sp>
        <p:nvSpPr>
          <p:cNvPr id="14" name="Ellipse 13">
            <a:extLst>
              <a:ext uri="{FF2B5EF4-FFF2-40B4-BE49-F238E27FC236}">
                <a16:creationId xmlns:a16="http://schemas.microsoft.com/office/drawing/2014/main" id="{9762CCA9-8066-680E-0750-F01FF7E95EBA}"/>
              </a:ext>
            </a:extLst>
          </p:cNvPr>
          <p:cNvSpPr/>
          <p:nvPr/>
        </p:nvSpPr>
        <p:spPr>
          <a:xfrm>
            <a:off x="541628" y="461501"/>
            <a:ext cx="468000" cy="468000"/>
          </a:xfrm>
          <a:prstGeom prst="ellipse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r>
              <a:rPr lang="de-DE" sz="2800">
                <a:solidFill>
                  <a:schemeClr val="accent1"/>
                </a:solidFill>
              </a:rPr>
              <a:t>II</a:t>
            </a:r>
            <a:endParaRPr lang="en-GB" sz="2800" err="1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801242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Pfeil: nach rechts 20">
            <a:extLst>
              <a:ext uri="{FF2B5EF4-FFF2-40B4-BE49-F238E27FC236}">
                <a16:creationId xmlns:a16="http://schemas.microsoft.com/office/drawing/2014/main" id="{612402AE-AC6B-3C04-5200-2F323DC524E4}"/>
              </a:ext>
            </a:extLst>
          </p:cNvPr>
          <p:cNvSpPr/>
          <p:nvPr/>
        </p:nvSpPr>
        <p:spPr>
          <a:xfrm>
            <a:off x="5689138" y="3100078"/>
            <a:ext cx="903514" cy="707571"/>
          </a:xfrm>
          <a:prstGeom prst="rightArrow">
            <a:avLst/>
          </a:prstGeom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endParaRPr lang="en-GB" err="1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2D4534AA-2857-8CD6-C0E0-F10677A37CA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lIns="0" tIns="0" rIns="0" bIns="0" rtlCol="0" anchor="t">
            <a:noAutofit/>
          </a:bodyPr>
          <a:lstStyle/>
          <a:p>
            <a:pPr marL="540000">
              <a:spcBef>
                <a:spcPts val="0"/>
              </a:spcBef>
            </a:pPr>
            <a:r>
              <a:rPr lang="de-DE"/>
              <a:t>Strategie &amp; Zielbild</a:t>
            </a:r>
            <a:endParaRPr lang="en-GB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954E0502-5D05-EEC5-A02B-9CB8E7C9892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02CEFE82-39F2-4F47-8A0C-D5AB3496FA5C}" type="slidenum">
              <a:rPr lang="de-DE" smtClean="0"/>
              <a:pPr/>
              <a:t>4</a:t>
            </a:fld>
            <a:endParaRPr lang="de-DE"/>
          </a:p>
        </p:txBody>
      </p:sp>
      <p:sp>
        <p:nvSpPr>
          <p:cNvPr id="13" name="Inhaltsplatzhalter 6">
            <a:extLst>
              <a:ext uri="{FF2B5EF4-FFF2-40B4-BE49-F238E27FC236}">
                <a16:creationId xmlns:a16="http://schemas.microsoft.com/office/drawing/2014/main" id="{A0FEE860-4A26-2590-6E4F-4DFE0C53C208}"/>
              </a:ext>
            </a:extLst>
          </p:cNvPr>
          <p:cNvSpPr txBox="1">
            <a:spLocks/>
          </p:cNvSpPr>
          <p:nvPr/>
        </p:nvSpPr>
        <p:spPr bwMode="gray">
          <a:xfrm>
            <a:off x="6635462" y="3011508"/>
            <a:ext cx="4911712" cy="191823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270000" indent="-27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000"/>
              </a:spcAft>
              <a:buClr>
                <a:schemeClr val="accent5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20000" indent="-27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000"/>
              </a:spcAft>
              <a:buClr>
                <a:schemeClr val="accent5"/>
              </a:buClr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0000" indent="-27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000"/>
              </a:spcAft>
              <a:buClr>
                <a:schemeClr val="accent5"/>
              </a:buClr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40000" indent="-27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000"/>
              </a:spcAft>
              <a:buClr>
                <a:schemeClr val="accent5"/>
              </a:buClr>
              <a:buFont typeface="Arial" panose="020B0604020202020204" pitchFamily="34" charset="0"/>
              <a:buChar char="–"/>
              <a:tabLst>
                <a:tab pos="898525" algn="l"/>
              </a:tabLst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00000" indent="-27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000"/>
              </a:spcAft>
              <a:buClr>
                <a:schemeClr val="accent5"/>
              </a:buClr>
              <a:buFont typeface="Arial" panose="020B0604020202020204" pitchFamily="34" charset="0"/>
              <a:buChar char="–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Aft>
                <a:spcPts val="0"/>
              </a:spcAft>
              <a:buFont typeface="Wingdings" panose="05000000000000000000" pitchFamily="2" charset="2"/>
              <a:buNone/>
            </a:pPr>
            <a:r>
              <a:rPr lang="en-GB" sz="5400" b="1" dirty="0" err="1">
                <a:cs typeface="Calibri"/>
              </a:rPr>
              <a:t>Kommunikation</a:t>
            </a:r>
            <a:endParaRPr lang="en-GB" sz="5400" b="1" dirty="0">
              <a:cs typeface="Calibri"/>
            </a:endParaRPr>
          </a:p>
        </p:txBody>
      </p:sp>
      <p:grpSp>
        <p:nvGrpSpPr>
          <p:cNvPr id="17" name="Gruppieren 16">
            <a:extLst>
              <a:ext uri="{FF2B5EF4-FFF2-40B4-BE49-F238E27FC236}">
                <a16:creationId xmlns:a16="http://schemas.microsoft.com/office/drawing/2014/main" id="{B2FB4D48-6D9F-D902-F261-EE118C70AA99}"/>
              </a:ext>
            </a:extLst>
          </p:cNvPr>
          <p:cNvGrpSpPr/>
          <p:nvPr/>
        </p:nvGrpSpPr>
        <p:grpSpPr>
          <a:xfrm>
            <a:off x="-174342" y="996165"/>
            <a:ext cx="6707379" cy="5807507"/>
            <a:chOff x="-174342" y="996165"/>
            <a:chExt cx="6707379" cy="5807507"/>
          </a:xfrm>
        </p:grpSpPr>
        <p:pic>
          <p:nvPicPr>
            <p:cNvPr id="15" name="Grafik 14">
              <a:extLst>
                <a:ext uri="{FF2B5EF4-FFF2-40B4-BE49-F238E27FC236}">
                  <a16:creationId xmlns:a16="http://schemas.microsoft.com/office/drawing/2014/main" id="{528E8967-A419-4223-7E40-75FAC31EA340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-174342" y="996165"/>
              <a:ext cx="6707379" cy="5807507"/>
            </a:xfrm>
            <a:prstGeom prst="rect">
              <a:avLst/>
            </a:prstGeom>
          </p:spPr>
        </p:pic>
        <p:sp>
          <p:nvSpPr>
            <p:cNvPr id="16" name="Rechteck 15">
              <a:extLst>
                <a:ext uri="{FF2B5EF4-FFF2-40B4-BE49-F238E27FC236}">
                  <a16:creationId xmlns:a16="http://schemas.microsoft.com/office/drawing/2014/main" id="{6E0E0DD2-2D80-5571-EF2A-C61D064BB732}"/>
                </a:ext>
              </a:extLst>
            </p:cNvPr>
            <p:cNvSpPr/>
            <p:nvPr/>
          </p:nvSpPr>
          <p:spPr>
            <a:xfrm rot="20788780">
              <a:off x="953781" y="2848824"/>
              <a:ext cx="2205997" cy="2091526"/>
            </a:xfrm>
            <a:prstGeom prst="rect">
              <a:avLst/>
            </a:prstGeom>
            <a:solidFill>
              <a:srgbClr val="E9E9E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>
                <a:lnSpc>
                  <a:spcPct val="90000"/>
                </a:lnSpc>
                <a:spcAft>
                  <a:spcPts val="1000"/>
                </a:spcAft>
              </a:pPr>
              <a:endParaRPr lang="en-GB" err="1"/>
            </a:p>
          </p:txBody>
        </p:sp>
      </p:grpSp>
      <p:sp>
        <p:nvSpPr>
          <p:cNvPr id="18" name="Inhaltsplatzhalter 6">
            <a:extLst>
              <a:ext uri="{FF2B5EF4-FFF2-40B4-BE49-F238E27FC236}">
                <a16:creationId xmlns:a16="http://schemas.microsoft.com/office/drawing/2014/main" id="{1A70248F-84A7-EBAE-9A9A-8E1593F954A5}"/>
              </a:ext>
            </a:extLst>
          </p:cNvPr>
          <p:cNvSpPr txBox="1">
            <a:spLocks/>
          </p:cNvSpPr>
          <p:nvPr/>
        </p:nvSpPr>
        <p:spPr bwMode="gray">
          <a:xfrm rot="20796245">
            <a:off x="58270" y="3310916"/>
            <a:ext cx="4130676" cy="988125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270000" indent="-27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000"/>
              </a:spcAft>
              <a:buClr>
                <a:schemeClr val="accent5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20000" indent="-27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000"/>
              </a:spcAft>
              <a:buClr>
                <a:schemeClr val="accent5"/>
              </a:buClr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0000" indent="-27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000"/>
              </a:spcAft>
              <a:buClr>
                <a:schemeClr val="accent5"/>
              </a:buClr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40000" indent="-27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000"/>
              </a:spcAft>
              <a:buClr>
                <a:schemeClr val="accent5"/>
              </a:buClr>
              <a:buFont typeface="Arial" panose="020B0604020202020204" pitchFamily="34" charset="0"/>
              <a:buChar char="–"/>
              <a:tabLst>
                <a:tab pos="898525" algn="l"/>
              </a:tabLst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00000" indent="-27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000"/>
              </a:spcAft>
              <a:buClr>
                <a:schemeClr val="accent5"/>
              </a:buClr>
              <a:buFont typeface="Arial" panose="020B0604020202020204" pitchFamily="34" charset="0"/>
              <a:buChar char="–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Wingdings" panose="05000000000000000000" pitchFamily="2" charset="2"/>
              <a:buNone/>
            </a:pPr>
            <a:r>
              <a:rPr lang="en-GB" sz="5400" b="1">
                <a:solidFill>
                  <a:schemeClr val="accent1"/>
                </a:solidFill>
                <a:cs typeface="Calibri"/>
              </a:rPr>
              <a:t>Wie?</a:t>
            </a:r>
          </a:p>
        </p:txBody>
      </p:sp>
      <p:sp>
        <p:nvSpPr>
          <p:cNvPr id="22" name="Ellipse 21">
            <a:extLst>
              <a:ext uri="{FF2B5EF4-FFF2-40B4-BE49-F238E27FC236}">
                <a16:creationId xmlns:a16="http://schemas.microsoft.com/office/drawing/2014/main" id="{8B85F741-EEC3-16E8-E590-4EDF156E39BB}"/>
              </a:ext>
            </a:extLst>
          </p:cNvPr>
          <p:cNvSpPr/>
          <p:nvPr/>
        </p:nvSpPr>
        <p:spPr>
          <a:xfrm>
            <a:off x="541628" y="461501"/>
            <a:ext cx="468000" cy="468000"/>
          </a:xfrm>
          <a:prstGeom prst="ellipse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36000" rtlCol="0" anchor="ctr"/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r>
              <a:rPr lang="de-DE" sz="2800">
                <a:solidFill>
                  <a:schemeClr val="accent1"/>
                </a:solidFill>
              </a:rPr>
              <a:t>III</a:t>
            </a:r>
            <a:endParaRPr lang="en-GB" sz="2800" err="1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303773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</p:tagLst>
</file>

<file path=ppt/theme/theme1.xml><?xml version="1.0" encoding="utf-8"?>
<a:theme xmlns:a="http://schemas.openxmlformats.org/drawingml/2006/main" name="1_m.Doc ">
  <a:themeElements>
    <a:clrScheme name="Color Palette m.DOoc">
      <a:dk1>
        <a:srgbClr val="222222"/>
      </a:dk1>
      <a:lt1>
        <a:sysClr val="window" lastClr="FFFFFF"/>
      </a:lt1>
      <a:dk2>
        <a:srgbClr val="E6E6E6"/>
      </a:dk2>
      <a:lt2>
        <a:srgbClr val="FFFFFF"/>
      </a:lt2>
      <a:accent1>
        <a:srgbClr val="FFC40C"/>
      </a:accent1>
      <a:accent2>
        <a:srgbClr val="666666"/>
      </a:accent2>
      <a:accent3>
        <a:srgbClr val="E6E6E6"/>
      </a:accent3>
      <a:accent4>
        <a:srgbClr val="222222"/>
      </a:accent4>
      <a:accent5>
        <a:srgbClr val="FFC40C"/>
      </a:accent5>
      <a:accent6>
        <a:srgbClr val="FFC40C"/>
      </a:accent6>
      <a:hlink>
        <a:srgbClr val="222222"/>
      </a:hlink>
      <a:folHlink>
        <a:srgbClr val="666666"/>
      </a:folHlink>
    </a:clrScheme>
    <a:fontScheme name="Benutzerdefiniert 22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lIns="36000" tIns="36000" rIns="36000" bIns="36000" rtlCol="0" anchor="ctr"/>
      <a:lstStyle>
        <a:defPPr algn="ctr">
          <a:lnSpc>
            <a:spcPct val="90000"/>
          </a:lnSpc>
          <a:spcAft>
            <a:spcPts val="1000"/>
          </a:spcAft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1">
          <a:schemeClr val="accent2"/>
        </a:lnRef>
        <a:fillRef idx="0">
          <a:schemeClr val="accent2"/>
        </a:fillRef>
        <a:effectRef idx="0">
          <a:schemeClr val="accent2"/>
        </a:effectRef>
        <a:fontRef idx="minor">
          <a:schemeClr val="tx1"/>
        </a:fontRef>
      </a:style>
    </a:lnDef>
    <a:txDef>
      <a:spPr>
        <a:solidFill>
          <a:schemeClr val="bg1"/>
        </a:solidFill>
      </a:spPr>
      <a:bodyPr wrap="square" lIns="0" tIns="0" rIns="0" bIns="0" rtlCol="0">
        <a:noAutofit/>
      </a:bodyPr>
      <a:lstStyle>
        <a:defPPr>
          <a:lnSpc>
            <a:spcPct val="90000"/>
          </a:lnSpc>
          <a:spcAft>
            <a:spcPts val="1000"/>
          </a:spcAft>
          <a:defRPr dirty="0" err="1" smtClean="0"/>
        </a:defPPr>
      </a:lstStyle>
    </a:txDef>
  </a:objectDefaults>
  <a:extraClrSchemeLst/>
</a:theme>
</file>

<file path=ppt/theme/theme2.xml><?xml version="1.0" encoding="utf-8"?>
<a:theme xmlns:a="http://schemas.openxmlformats.org/drawingml/2006/main" name="2_m.Doc ">
  <a:themeElements>
    <a:clrScheme name="Color Palette m.DOoc">
      <a:dk1>
        <a:srgbClr val="222222"/>
      </a:dk1>
      <a:lt1>
        <a:sysClr val="window" lastClr="FFFFFF"/>
      </a:lt1>
      <a:dk2>
        <a:srgbClr val="E6E6E6"/>
      </a:dk2>
      <a:lt2>
        <a:srgbClr val="FFFFFF"/>
      </a:lt2>
      <a:accent1>
        <a:srgbClr val="FFC40C"/>
      </a:accent1>
      <a:accent2>
        <a:srgbClr val="666666"/>
      </a:accent2>
      <a:accent3>
        <a:srgbClr val="E6E6E6"/>
      </a:accent3>
      <a:accent4>
        <a:srgbClr val="222222"/>
      </a:accent4>
      <a:accent5>
        <a:srgbClr val="FFC40C"/>
      </a:accent5>
      <a:accent6>
        <a:srgbClr val="FFC40C"/>
      </a:accent6>
      <a:hlink>
        <a:srgbClr val="222222"/>
      </a:hlink>
      <a:folHlink>
        <a:srgbClr val="666666"/>
      </a:folHlink>
    </a:clrScheme>
    <a:fontScheme name="Benutzerdefiniert 22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lIns="36000" tIns="36000" rIns="36000" bIns="36000" rtlCol="0" anchor="ctr"/>
      <a:lstStyle>
        <a:defPPr algn="ctr">
          <a:lnSpc>
            <a:spcPct val="90000"/>
          </a:lnSpc>
          <a:spcAft>
            <a:spcPts val="1000"/>
          </a:spcAft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1">
          <a:schemeClr val="accent2"/>
        </a:lnRef>
        <a:fillRef idx="0">
          <a:schemeClr val="accent2"/>
        </a:fillRef>
        <a:effectRef idx="0">
          <a:schemeClr val="accent2"/>
        </a:effectRef>
        <a:fontRef idx="minor">
          <a:schemeClr val="tx1"/>
        </a:fontRef>
      </a:style>
    </a:lnDef>
    <a:txDef>
      <a:spPr>
        <a:solidFill>
          <a:schemeClr val="bg1"/>
        </a:solidFill>
      </a:spPr>
      <a:bodyPr wrap="square" lIns="0" tIns="0" rIns="0" bIns="0" rtlCol="0">
        <a:noAutofit/>
      </a:bodyPr>
      <a:lstStyle>
        <a:defPPr>
          <a:lnSpc>
            <a:spcPct val="90000"/>
          </a:lnSpc>
          <a:spcAft>
            <a:spcPts val="1000"/>
          </a:spcAft>
          <a:defRPr dirty="0" err="1" smtClean="0"/>
        </a:defPPr>
      </a:lstStyle>
    </a:txDef>
  </a:objectDefaults>
  <a:extraClrSchemeLst/>
</a:theme>
</file>

<file path=ppt/theme/theme3.xml><?xml version="1.0" encoding="utf-8"?>
<a:theme xmlns:a="http://schemas.openxmlformats.org/drawingml/2006/main" name="Larissa">
  <a:themeElements>
    <a:clrScheme name="PresentationLoad">
      <a:dk1>
        <a:sysClr val="windowText" lastClr="000000"/>
      </a:dk1>
      <a:lt1>
        <a:sysClr val="window" lastClr="FFFFFF"/>
      </a:lt1>
      <a:dk2>
        <a:srgbClr val="2C3E50"/>
      </a:dk2>
      <a:lt2>
        <a:srgbClr val="FFFFFF"/>
      </a:lt2>
      <a:accent1>
        <a:srgbClr val="3498DB"/>
      </a:accent1>
      <a:accent2>
        <a:srgbClr val="C8303F"/>
      </a:accent2>
      <a:accent3>
        <a:srgbClr val="9BBB59"/>
      </a:accent3>
      <a:accent4>
        <a:srgbClr val="FFC000"/>
      </a:accent4>
      <a:accent5>
        <a:srgbClr val="814993"/>
      </a:accent5>
      <a:accent6>
        <a:srgbClr val="45B1CB"/>
      </a:accent6>
      <a:hlink>
        <a:srgbClr val="7F7F7F"/>
      </a:hlink>
      <a:folHlink>
        <a:srgbClr val="7F7F7F"/>
      </a:folHlink>
    </a:clrScheme>
    <a:fontScheme name="Kapsch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PresentationLoad">
      <a:dk1>
        <a:sysClr val="windowText" lastClr="000000"/>
      </a:dk1>
      <a:lt1>
        <a:sysClr val="window" lastClr="FFFFFF"/>
      </a:lt1>
      <a:dk2>
        <a:srgbClr val="2C3E50"/>
      </a:dk2>
      <a:lt2>
        <a:srgbClr val="FFFFFF"/>
      </a:lt2>
      <a:accent1>
        <a:srgbClr val="3498DB"/>
      </a:accent1>
      <a:accent2>
        <a:srgbClr val="C8303F"/>
      </a:accent2>
      <a:accent3>
        <a:srgbClr val="9BBB59"/>
      </a:accent3>
      <a:accent4>
        <a:srgbClr val="FFC000"/>
      </a:accent4>
      <a:accent5>
        <a:srgbClr val="814993"/>
      </a:accent5>
      <a:accent6>
        <a:srgbClr val="45B1CB"/>
      </a:accent6>
      <a:hlink>
        <a:srgbClr val="7F7F7F"/>
      </a:hlink>
      <a:folHlink>
        <a:srgbClr val="7F7F7F"/>
      </a:folHlink>
    </a:clrScheme>
    <a:fontScheme name="Kapsch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36</Words>
  <Application>Microsoft Macintosh PowerPoint</Application>
  <PresentationFormat>Benutzerdefiniert</PresentationFormat>
  <Paragraphs>17</Paragraphs>
  <Slides>4</Slides>
  <Notes>0</Notes>
  <HiddenSlides>0</HiddenSlides>
  <MMClips>0</MMClips>
  <ScaleCrop>false</ScaleCrop>
  <HeadingPairs>
    <vt:vector size="6" baseType="variant">
      <vt:variant>
        <vt:lpstr>Verwendete Schriftarten</vt:lpstr>
      </vt:variant>
      <vt:variant>
        <vt:i4>3</vt:i4>
      </vt:variant>
      <vt:variant>
        <vt:lpstr>Design</vt:lpstr>
      </vt:variant>
      <vt:variant>
        <vt:i4>2</vt:i4>
      </vt:variant>
      <vt:variant>
        <vt:lpstr>Folientitel</vt:lpstr>
      </vt:variant>
      <vt:variant>
        <vt:i4>4</vt:i4>
      </vt:variant>
    </vt:vector>
  </HeadingPairs>
  <TitlesOfParts>
    <vt:vector size="9" baseType="lpstr">
      <vt:lpstr>Calibri</vt:lpstr>
      <vt:lpstr>Wingdings</vt:lpstr>
      <vt:lpstr>Arial</vt:lpstr>
      <vt:lpstr>1_m.Doc </vt:lpstr>
      <vt:lpstr>2_m.Doc </vt:lpstr>
      <vt:lpstr>Workshop m.Doc:  Patientenportal-einführung </vt:lpstr>
      <vt:lpstr>Strategie &amp; Zielbild</vt:lpstr>
      <vt:lpstr>Strategie &amp; Zielbild</vt:lpstr>
      <vt:lpstr>Strategie &amp; Zielbild</vt:lpstr>
    </vt:vector>
  </TitlesOfParts>
  <Company>m.Doc GmbH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.Doc Unternehmensvorstellung</dc:title>
  <dc:creator>Berger Stefanie</dc:creator>
  <cp:lastModifiedBy>Dr. Pierre-Michael Meier, CHCIO</cp:lastModifiedBy>
  <cp:revision>3</cp:revision>
  <dcterms:created xsi:type="dcterms:W3CDTF">2015-11-26T10:37:47Z</dcterms:created>
  <dcterms:modified xsi:type="dcterms:W3CDTF">2023-05-23T10:40:20Z</dcterms:modified>
</cp:coreProperties>
</file>